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5"/>
  </p:notesMasterIdLst>
  <p:sldIdLst>
    <p:sldId id="270" r:id="rId2"/>
    <p:sldId id="279" r:id="rId3"/>
    <p:sldId id="268" r:id="rId4"/>
    <p:sldId id="269" r:id="rId5"/>
    <p:sldId id="258" r:id="rId6"/>
    <p:sldId id="271" r:id="rId7"/>
    <p:sldId id="272" r:id="rId8"/>
    <p:sldId id="273" r:id="rId9"/>
    <p:sldId id="274" r:id="rId10"/>
    <p:sldId id="275" r:id="rId11"/>
    <p:sldId id="276" r:id="rId12"/>
    <p:sldId id="277" r:id="rId13"/>
    <p:sldId id="278" r:id="rId14"/>
  </p:sldIdLst>
  <p:sldSz cx="9144000" cy="6858000" type="screen4x3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BFBFBF"/>
    <a:srgbClr val="D5D5D5"/>
    <a:srgbClr val="CE202A"/>
    <a:srgbClr val="2A9B18"/>
    <a:srgbClr val="0D65AC"/>
    <a:srgbClr val="7F7F7F"/>
    <a:srgbClr val="F0B71F"/>
    <a:srgbClr val="073D69"/>
    <a:srgbClr val="0949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8882" autoAdjust="0"/>
    <p:restoredTop sz="94660"/>
  </p:normalViewPr>
  <p:slideViewPr>
    <p:cSldViewPr snapToGrid="0">
      <p:cViewPr>
        <p:scale>
          <a:sx n="82" d="100"/>
          <a:sy n="82" d="100"/>
        </p:scale>
        <p:origin x="-2370" y="-714"/>
      </p:cViewPr>
      <p:guideLst>
        <p:guide orient="horz" pos="2160"/>
        <p:guide orient="horz" pos="999"/>
        <p:guide orient="horz" pos="3667"/>
        <p:guide pos="2880"/>
        <p:guide pos="211"/>
        <p:guide pos="556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9ABCAC-0337-4627-BBB7-BF189B8EDA90}" type="datetimeFigureOut">
              <a:rPr lang="en-US" smtClean="0"/>
              <a:t>2/27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46611E-B935-47DE-996F-C272FBE23A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97407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/>
              <a:pPr/>
              <a:t>‹#›</a:t>
            </a:fld>
            <a:r>
              <a:rPr lang="en-US" dirty="0" smtClean="0"/>
              <a:t>|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>
            <p:custDataLst>
              <p:tags r:id="rId2"/>
            </p:custDataLst>
          </p:nvPr>
        </p:nvCxnSpPr>
        <p:spPr>
          <a:xfrm>
            <a:off x="3407834" y="1136829"/>
            <a:ext cx="2328333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920185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/>
              <a:pPr/>
              <a:t>‹#›</a:t>
            </a:fld>
            <a:r>
              <a:rPr lang="en-US" dirty="0" smtClean="0"/>
              <a:t>|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>
            <p:custDataLst>
              <p:tags r:id="rId2"/>
            </p:custDataLst>
          </p:nvPr>
        </p:nvCxnSpPr>
        <p:spPr>
          <a:xfrm>
            <a:off x="3407834" y="1136829"/>
            <a:ext cx="2328333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3397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 userDrawn="1"/>
        </p:nvGrpSpPr>
        <p:grpSpPr>
          <a:xfrm>
            <a:off x="-114856" y="0"/>
            <a:ext cx="9271556" cy="6858000"/>
            <a:chOff x="-114856" y="0"/>
            <a:chExt cx="9271556" cy="6858000"/>
          </a:xfrm>
        </p:grpSpPr>
        <p:sp>
          <p:nvSpPr>
            <p:cNvPr id="14" name="Rectangle 13"/>
            <p:cNvSpPr/>
            <p:nvPr userDrawn="1">
              <p:custDataLst>
                <p:tags r:id="rId5"/>
              </p:custDataLst>
            </p:nvPr>
          </p:nvSpPr>
          <p:spPr>
            <a:xfrm>
              <a:off x="0" y="0"/>
              <a:ext cx="9156700" cy="685800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7820000" scaled="0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grpSp>
          <p:nvGrpSpPr>
            <p:cNvPr id="15" name="Group 1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0" y="0"/>
              <a:ext cx="9156700" cy="6858000"/>
              <a:chOff x="0" y="0"/>
              <a:chExt cx="9156700" cy="6858000"/>
            </a:xfrm>
          </p:grpSpPr>
          <p:sp>
            <p:nvSpPr>
              <p:cNvPr id="16" name="Rectangle 15"/>
              <p:cNvSpPr/>
              <p:nvPr userDrawn="1"/>
            </p:nvSpPr>
            <p:spPr>
              <a:xfrm>
                <a:off x="0" y="0"/>
                <a:ext cx="9144000" cy="6858000"/>
              </a:xfrm>
              <a:prstGeom prst="rect">
                <a:avLst/>
              </a:prstGeom>
              <a:gradFill>
                <a:gsLst>
                  <a:gs pos="100000">
                    <a:schemeClr val="bg1"/>
                  </a:gs>
                  <a:gs pos="1000">
                    <a:schemeClr val="bg1">
                      <a:lumMod val="95000"/>
                    </a:schemeClr>
                  </a:gs>
                </a:gsLst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/>
              </a:p>
            </p:txBody>
          </p:sp>
          <p:sp>
            <p:nvSpPr>
              <p:cNvPr id="17" name="Rectangle 16"/>
              <p:cNvSpPr/>
              <p:nvPr userDrawn="1"/>
            </p:nvSpPr>
            <p:spPr>
              <a:xfrm>
                <a:off x="12700" y="3848100"/>
                <a:ext cx="9144000" cy="3008313"/>
              </a:xfrm>
              <a:prstGeom prst="rect">
                <a:avLst/>
              </a:prstGeom>
              <a:solidFill>
                <a:schemeClr val="bg1">
                  <a:lumMod val="95000"/>
                  <a:alpha val="49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/>
              </a:p>
            </p:txBody>
          </p:sp>
        </p:grpSp>
        <p:cxnSp>
          <p:nvCxnSpPr>
            <p:cNvPr id="18" name="Straight Connector 17"/>
            <p:cNvCxnSpPr/>
            <p:nvPr userDrawn="1">
              <p:custDataLst>
                <p:tags r:id="rId7"/>
              </p:custDataLst>
            </p:nvPr>
          </p:nvCxnSpPr>
          <p:spPr>
            <a:xfrm>
              <a:off x="-114856" y="3554413"/>
              <a:ext cx="9254067" cy="0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bg1">
                      <a:lumMod val="95000"/>
                      <a:alpha val="0"/>
                    </a:schemeClr>
                  </a:gs>
                  <a:gs pos="53000">
                    <a:schemeClr val="bg1">
                      <a:lumMod val="95000"/>
                    </a:schemeClr>
                  </a:gs>
                  <a:gs pos="100000">
                    <a:schemeClr val="bg1">
                      <a:lumMod val="95000"/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40005" dist="19939" dir="5400000" sx="102000" sy="102000" algn="tl" rotWithShape="0">
                <a:srgbClr val="000000">
                  <a:alpha val="16000"/>
                </a:srgbClr>
              </a:outerShdw>
              <a:softEdge rad="12700"/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600825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PRESENTER NAM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COMPANY NAM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2125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CE8A1A-EF06-42BD-8183-7D22FECA910D}" type="slidenum">
              <a:rPr lang="en-US" smtClean="0"/>
              <a:pPr/>
              <a:t>‹#›</a:t>
            </a:fld>
            <a:r>
              <a:rPr lang="en-US" dirty="0" smtClean="0"/>
              <a:t>|</a:t>
            </a:r>
            <a:endParaRPr lang="en-US" dirty="0"/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9049984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4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4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4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4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tags" Target="../tags/tag27.xml"/><Relationship Id="rId18" Type="http://schemas.openxmlformats.org/officeDocument/2006/relationships/tags" Target="../tags/tag32.xml"/><Relationship Id="rId3" Type="http://schemas.openxmlformats.org/officeDocument/2006/relationships/tags" Target="../tags/tag17.xml"/><Relationship Id="rId21" Type="http://schemas.openxmlformats.org/officeDocument/2006/relationships/tags" Target="../tags/tag35.xml"/><Relationship Id="rId7" Type="http://schemas.openxmlformats.org/officeDocument/2006/relationships/tags" Target="../tags/tag21.xml"/><Relationship Id="rId12" Type="http://schemas.openxmlformats.org/officeDocument/2006/relationships/tags" Target="../tags/tag26.xml"/><Relationship Id="rId17" Type="http://schemas.openxmlformats.org/officeDocument/2006/relationships/tags" Target="../tags/tag31.xml"/><Relationship Id="rId25" Type="http://schemas.openxmlformats.org/officeDocument/2006/relationships/image" Target="../media/image1.emf"/><Relationship Id="rId2" Type="http://schemas.openxmlformats.org/officeDocument/2006/relationships/tags" Target="../tags/tag16.xml"/><Relationship Id="rId16" Type="http://schemas.openxmlformats.org/officeDocument/2006/relationships/tags" Target="../tags/tag30.xml"/><Relationship Id="rId20" Type="http://schemas.openxmlformats.org/officeDocument/2006/relationships/tags" Target="../tags/tag34.xml"/><Relationship Id="rId1" Type="http://schemas.openxmlformats.org/officeDocument/2006/relationships/vmlDrawing" Target="../drawings/vmlDrawing1.v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24" Type="http://schemas.openxmlformats.org/officeDocument/2006/relationships/oleObject" Target="../embeddings/oleObject1.bin"/><Relationship Id="rId5" Type="http://schemas.openxmlformats.org/officeDocument/2006/relationships/tags" Target="../tags/tag19.xml"/><Relationship Id="rId15" Type="http://schemas.openxmlformats.org/officeDocument/2006/relationships/tags" Target="../tags/tag29.xml"/><Relationship Id="rId23" Type="http://schemas.openxmlformats.org/officeDocument/2006/relationships/slideLayout" Target="../slideLayouts/slideLayout1.xml"/><Relationship Id="rId10" Type="http://schemas.openxmlformats.org/officeDocument/2006/relationships/tags" Target="../tags/tag24.xml"/><Relationship Id="rId19" Type="http://schemas.openxmlformats.org/officeDocument/2006/relationships/tags" Target="../tags/tag33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tags" Target="../tags/tag28.xml"/><Relationship Id="rId22" Type="http://schemas.openxmlformats.org/officeDocument/2006/relationships/tags" Target="../tags/tag3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12" Type="http://schemas.openxmlformats.org/officeDocument/2006/relationships/image" Target="../media/image1.emf"/><Relationship Id="rId2" Type="http://schemas.openxmlformats.org/officeDocument/2006/relationships/tags" Target="../tags/tag38.xml"/><Relationship Id="rId1" Type="http://schemas.openxmlformats.org/officeDocument/2006/relationships/vmlDrawing" Target="../drawings/vmlDrawing2.vml"/><Relationship Id="rId6" Type="http://schemas.openxmlformats.org/officeDocument/2006/relationships/tags" Target="../tags/tag42.xml"/><Relationship Id="rId11" Type="http://schemas.openxmlformats.org/officeDocument/2006/relationships/oleObject" Target="../embeddings/oleObject2.bin"/><Relationship Id="rId5" Type="http://schemas.openxmlformats.org/officeDocument/2006/relationships/tags" Target="../tags/tag41.xml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40.xml"/><Relationship Id="rId9" Type="http://schemas.openxmlformats.org/officeDocument/2006/relationships/tags" Target="../tags/tag4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1" name="Straight Connector 220"/>
          <p:cNvCxnSpPr/>
          <p:nvPr/>
        </p:nvCxnSpPr>
        <p:spPr>
          <a:xfrm>
            <a:off x="3987800" y="2396692"/>
            <a:ext cx="1117600" cy="2726267"/>
          </a:xfrm>
          <a:prstGeom prst="line">
            <a:avLst/>
          </a:prstGeom>
          <a:ln w="12700">
            <a:solidFill>
              <a:srgbClr val="0D65A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/>
          <p:cNvCxnSpPr/>
          <p:nvPr/>
        </p:nvCxnSpPr>
        <p:spPr>
          <a:xfrm flipH="1">
            <a:off x="3987800" y="2396692"/>
            <a:ext cx="1117600" cy="2726267"/>
          </a:xfrm>
          <a:prstGeom prst="line">
            <a:avLst/>
          </a:prstGeom>
          <a:ln w="12700">
            <a:solidFill>
              <a:srgbClr val="0D65A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Straight Connector 217"/>
          <p:cNvCxnSpPr/>
          <p:nvPr/>
        </p:nvCxnSpPr>
        <p:spPr>
          <a:xfrm>
            <a:off x="3385585" y="3227298"/>
            <a:ext cx="2431327" cy="1134041"/>
          </a:xfrm>
          <a:prstGeom prst="line">
            <a:avLst/>
          </a:prstGeom>
          <a:ln w="12700">
            <a:solidFill>
              <a:srgbClr val="0D65A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/>
          <p:cNvCxnSpPr/>
          <p:nvPr/>
        </p:nvCxnSpPr>
        <p:spPr>
          <a:xfrm flipH="1">
            <a:off x="3385585" y="3227298"/>
            <a:ext cx="2431327" cy="1134041"/>
          </a:xfrm>
          <a:prstGeom prst="line">
            <a:avLst/>
          </a:prstGeom>
          <a:ln w="12700">
            <a:solidFill>
              <a:srgbClr val="0D65A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4378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Replace this text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1</a:t>
            </a:fld>
            <a:r>
              <a:rPr lang="en-US" dirty="0" smtClean="0"/>
              <a:t> I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404717"/>
            <a:ext cx="7886700" cy="461665"/>
          </a:xfrm>
        </p:spPr>
        <p:txBody>
          <a:bodyPr/>
          <a:lstStyle/>
          <a:p>
            <a:r>
              <a:rPr lang="en-US" dirty="0" smtClean="0"/>
              <a:t>BUSINESS PLAN</a:t>
            </a:r>
            <a:endParaRPr lang="en-US" dirty="0">
              <a:latin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  <p:sp>
        <p:nvSpPr>
          <p:cNvPr id="201" name="Oval 200"/>
          <p:cNvSpPr/>
          <p:nvPr/>
        </p:nvSpPr>
        <p:spPr>
          <a:xfrm>
            <a:off x="2405304" y="2480308"/>
            <a:ext cx="1135927" cy="1135927"/>
          </a:xfrm>
          <a:prstGeom prst="ellipse">
            <a:avLst/>
          </a:prstGeom>
          <a:solidFill>
            <a:srgbClr val="D5D5D5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202" name="Oval 201"/>
          <p:cNvSpPr/>
          <p:nvPr/>
        </p:nvSpPr>
        <p:spPr>
          <a:xfrm>
            <a:off x="2405304" y="3876716"/>
            <a:ext cx="1135927" cy="1135927"/>
          </a:xfrm>
          <a:prstGeom prst="ellipse">
            <a:avLst/>
          </a:prstGeom>
          <a:solidFill>
            <a:srgbClr val="D5D5D5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203" name="Oval 202"/>
          <p:cNvSpPr/>
          <p:nvPr/>
        </p:nvSpPr>
        <p:spPr>
          <a:xfrm>
            <a:off x="5638800" y="2480308"/>
            <a:ext cx="1135927" cy="1135927"/>
          </a:xfrm>
          <a:prstGeom prst="ellipse">
            <a:avLst/>
          </a:prstGeom>
          <a:solidFill>
            <a:srgbClr val="D5D5D5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204" name="Oval 203"/>
          <p:cNvSpPr/>
          <p:nvPr/>
        </p:nvSpPr>
        <p:spPr>
          <a:xfrm>
            <a:off x="5638800" y="3876717"/>
            <a:ext cx="1135927" cy="1135927"/>
          </a:xfrm>
          <a:prstGeom prst="ellipse">
            <a:avLst/>
          </a:prstGeom>
          <a:solidFill>
            <a:srgbClr val="D5D5D5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205" name="Oval 204"/>
          <p:cNvSpPr/>
          <p:nvPr/>
        </p:nvSpPr>
        <p:spPr>
          <a:xfrm>
            <a:off x="3352800" y="1524000"/>
            <a:ext cx="1135927" cy="1135927"/>
          </a:xfrm>
          <a:prstGeom prst="ellipse">
            <a:avLst/>
          </a:prstGeom>
          <a:solidFill>
            <a:srgbClr val="D5D5D5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206" name="Oval 205"/>
          <p:cNvSpPr/>
          <p:nvPr/>
        </p:nvSpPr>
        <p:spPr>
          <a:xfrm>
            <a:off x="4648200" y="1524000"/>
            <a:ext cx="1135927" cy="1135927"/>
          </a:xfrm>
          <a:prstGeom prst="ellipse">
            <a:avLst/>
          </a:prstGeom>
          <a:solidFill>
            <a:srgbClr val="D5D5D5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207" name="Oval 206"/>
          <p:cNvSpPr/>
          <p:nvPr/>
        </p:nvSpPr>
        <p:spPr>
          <a:xfrm>
            <a:off x="3352800" y="4800600"/>
            <a:ext cx="1135927" cy="1135927"/>
          </a:xfrm>
          <a:prstGeom prst="ellipse">
            <a:avLst/>
          </a:prstGeom>
          <a:solidFill>
            <a:srgbClr val="D5D5D5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208" name="Oval 207"/>
          <p:cNvSpPr/>
          <p:nvPr/>
        </p:nvSpPr>
        <p:spPr>
          <a:xfrm>
            <a:off x="4648200" y="4800600"/>
            <a:ext cx="1135927" cy="1135927"/>
          </a:xfrm>
          <a:prstGeom prst="ellipse">
            <a:avLst/>
          </a:prstGeom>
          <a:solidFill>
            <a:srgbClr val="D5D5D5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209" name="Rectangle 208"/>
          <p:cNvSpPr/>
          <p:nvPr/>
        </p:nvSpPr>
        <p:spPr>
          <a:xfrm>
            <a:off x="3551111" y="1953464"/>
            <a:ext cx="73930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</a:rPr>
              <a:t>Timeline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210" name="Rectangle 209"/>
          <p:cNvSpPr/>
          <p:nvPr/>
        </p:nvSpPr>
        <p:spPr>
          <a:xfrm>
            <a:off x="4769567" y="1953464"/>
            <a:ext cx="89319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</a:rPr>
              <a:t>Operations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211" name="Rectangle 210"/>
          <p:cNvSpPr/>
          <p:nvPr/>
        </p:nvSpPr>
        <p:spPr>
          <a:xfrm>
            <a:off x="5719257" y="2817439"/>
            <a:ext cx="9750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</a:rPr>
              <a:t>Competitor Analysis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212" name="Rectangle 211"/>
          <p:cNvSpPr/>
          <p:nvPr/>
        </p:nvSpPr>
        <p:spPr>
          <a:xfrm>
            <a:off x="5719257" y="4213848"/>
            <a:ext cx="9750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</a:rPr>
              <a:t>SWOT Analysis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213" name="Rectangle 212"/>
          <p:cNvSpPr/>
          <p:nvPr/>
        </p:nvSpPr>
        <p:spPr>
          <a:xfrm>
            <a:off x="4728657" y="5137731"/>
            <a:ext cx="9750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</a:rPr>
              <a:t>Mission Statement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214" name="Rectangle 213"/>
          <p:cNvSpPr/>
          <p:nvPr/>
        </p:nvSpPr>
        <p:spPr>
          <a:xfrm>
            <a:off x="3429000" y="5181600"/>
            <a:ext cx="9750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</a:rPr>
              <a:t>Marketing Plan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215" name="Rectangle 214"/>
          <p:cNvSpPr/>
          <p:nvPr/>
        </p:nvSpPr>
        <p:spPr>
          <a:xfrm>
            <a:off x="2485761" y="4213847"/>
            <a:ext cx="9750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</a:rPr>
              <a:t>Product Description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216" name="Rectangle 215"/>
          <p:cNvSpPr/>
          <p:nvPr/>
        </p:nvSpPr>
        <p:spPr>
          <a:xfrm>
            <a:off x="2485761" y="2817439"/>
            <a:ext cx="9750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</a:rPr>
              <a:t>Financial Planning</a:t>
            </a:r>
            <a:endParaRPr lang="en-US" sz="1200" b="1" dirty="0">
              <a:solidFill>
                <a:srgbClr val="000000"/>
              </a:solidFill>
            </a:endParaRPr>
          </a:p>
        </p:txBody>
      </p:sp>
      <p:grpSp>
        <p:nvGrpSpPr>
          <p:cNvPr id="224" name="Group 223"/>
          <p:cNvGrpSpPr/>
          <p:nvPr/>
        </p:nvGrpSpPr>
        <p:grpSpPr>
          <a:xfrm>
            <a:off x="3541231" y="2716866"/>
            <a:ext cx="2061539" cy="2061539"/>
            <a:chOff x="3541231" y="2716866"/>
            <a:chExt cx="2061539" cy="2061539"/>
          </a:xfrm>
        </p:grpSpPr>
        <p:sp>
          <p:nvSpPr>
            <p:cNvPr id="200" name="Oval 199"/>
            <p:cNvSpPr/>
            <p:nvPr/>
          </p:nvSpPr>
          <p:spPr>
            <a:xfrm>
              <a:off x="3541231" y="2716866"/>
              <a:ext cx="2061539" cy="2061539"/>
            </a:xfrm>
            <a:prstGeom prst="ellipse">
              <a:avLst/>
            </a:prstGeom>
            <a:solidFill>
              <a:srgbClr val="0D65AC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rtlCol="0" anchor="ctr"/>
            <a:lstStyle/>
            <a:p>
              <a:pPr algn="ctr"/>
              <a:r>
                <a:rPr lang="en-US" sz="2400" b="1" dirty="0" smtClean="0">
                  <a:solidFill>
                    <a:schemeClr val="bg1"/>
                  </a:solidFill>
                </a:rPr>
                <a:t>Business Plan</a:t>
              </a:r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223" name="Oval 222"/>
            <p:cNvSpPr/>
            <p:nvPr/>
          </p:nvSpPr>
          <p:spPr>
            <a:xfrm>
              <a:off x="3625702" y="2801337"/>
              <a:ext cx="1892597" cy="1892597"/>
            </a:xfrm>
            <a:prstGeom prst="ellipse">
              <a:avLst/>
            </a:prstGeom>
            <a:noFill/>
            <a:ln>
              <a:solidFill>
                <a:srgbClr val="D5D5D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315996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5" name="Group 114"/>
          <p:cNvGrpSpPr/>
          <p:nvPr/>
        </p:nvGrpSpPr>
        <p:grpSpPr>
          <a:xfrm>
            <a:off x="7349067" y="2783840"/>
            <a:ext cx="152083" cy="2756921"/>
            <a:chOff x="8145482" y="2783840"/>
            <a:chExt cx="152083" cy="2756921"/>
          </a:xfrm>
        </p:grpSpPr>
        <p:cxnSp>
          <p:nvCxnSpPr>
            <p:cNvPr id="116" name="Straight Connector 115"/>
            <p:cNvCxnSpPr>
              <a:endCxn id="117" idx="4"/>
            </p:cNvCxnSpPr>
            <p:nvPr/>
          </p:nvCxnSpPr>
          <p:spPr>
            <a:xfrm>
              <a:off x="8221524" y="2783840"/>
              <a:ext cx="0" cy="2756921"/>
            </a:xfrm>
            <a:prstGeom prst="line">
              <a:avLst/>
            </a:prstGeom>
            <a:ln>
              <a:solidFill>
                <a:srgbClr val="0D65A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Oval 116"/>
            <p:cNvSpPr/>
            <p:nvPr/>
          </p:nvSpPr>
          <p:spPr>
            <a:xfrm>
              <a:off x="8145482" y="5388678"/>
              <a:ext cx="152083" cy="152083"/>
            </a:xfrm>
            <a:prstGeom prst="ellipse">
              <a:avLst/>
            </a:prstGeom>
            <a:solidFill>
              <a:srgbClr val="D5D5D5"/>
            </a:solidFill>
            <a:ln w="38100">
              <a:solidFill>
                <a:srgbClr val="0D65A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4378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Replace this text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10</a:t>
            </a:fld>
            <a:r>
              <a:rPr lang="en-US" dirty="0" smtClean="0"/>
              <a:t> I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404717"/>
            <a:ext cx="7886700" cy="461665"/>
          </a:xfrm>
        </p:spPr>
        <p:txBody>
          <a:bodyPr/>
          <a:lstStyle/>
          <a:p>
            <a:r>
              <a:rPr lang="en-US" dirty="0"/>
              <a:t>BUSINESS PLAN</a:t>
            </a:r>
            <a:endParaRPr lang="en-US" dirty="0">
              <a:latin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  <p:grpSp>
        <p:nvGrpSpPr>
          <p:cNvPr id="61" name="Group 60"/>
          <p:cNvGrpSpPr/>
          <p:nvPr/>
        </p:nvGrpSpPr>
        <p:grpSpPr>
          <a:xfrm>
            <a:off x="571431" y="2783840"/>
            <a:ext cx="152083" cy="2751437"/>
            <a:chOff x="631117" y="2783840"/>
            <a:chExt cx="152083" cy="2751437"/>
          </a:xfrm>
        </p:grpSpPr>
        <p:cxnSp>
          <p:nvCxnSpPr>
            <p:cNvPr id="62" name="Straight Connector 61"/>
            <p:cNvCxnSpPr>
              <a:endCxn id="63" idx="4"/>
            </p:cNvCxnSpPr>
            <p:nvPr/>
          </p:nvCxnSpPr>
          <p:spPr>
            <a:xfrm>
              <a:off x="707159" y="2783840"/>
              <a:ext cx="0" cy="2751437"/>
            </a:xfrm>
            <a:prstGeom prst="line">
              <a:avLst/>
            </a:prstGeom>
            <a:ln>
              <a:solidFill>
                <a:srgbClr val="0D65A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Oval 62"/>
            <p:cNvSpPr/>
            <p:nvPr/>
          </p:nvSpPr>
          <p:spPr>
            <a:xfrm>
              <a:off x="631117" y="5383194"/>
              <a:ext cx="152083" cy="152083"/>
            </a:xfrm>
            <a:prstGeom prst="ellipse">
              <a:avLst/>
            </a:prstGeom>
            <a:solidFill>
              <a:srgbClr val="D5D5D5"/>
            </a:solidFill>
            <a:ln w="38100">
              <a:solidFill>
                <a:srgbClr val="0D65A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4" name="Group 63"/>
          <p:cNvGrpSpPr/>
          <p:nvPr/>
        </p:nvGrpSpPr>
        <p:grpSpPr>
          <a:xfrm>
            <a:off x="1926958" y="2783840"/>
            <a:ext cx="152083" cy="2756921"/>
            <a:chOff x="2514758" y="2783840"/>
            <a:chExt cx="152083" cy="2756921"/>
          </a:xfrm>
        </p:grpSpPr>
        <p:cxnSp>
          <p:nvCxnSpPr>
            <p:cNvPr id="65" name="Straight Connector 64"/>
            <p:cNvCxnSpPr>
              <a:endCxn id="66" idx="4"/>
            </p:cNvCxnSpPr>
            <p:nvPr/>
          </p:nvCxnSpPr>
          <p:spPr>
            <a:xfrm>
              <a:off x="2590800" y="2783840"/>
              <a:ext cx="0" cy="2756921"/>
            </a:xfrm>
            <a:prstGeom prst="line">
              <a:avLst/>
            </a:prstGeom>
            <a:ln>
              <a:solidFill>
                <a:srgbClr val="0D65A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6" name="Oval 65"/>
            <p:cNvSpPr/>
            <p:nvPr/>
          </p:nvSpPr>
          <p:spPr>
            <a:xfrm>
              <a:off x="2514758" y="5388678"/>
              <a:ext cx="152083" cy="152083"/>
            </a:xfrm>
            <a:prstGeom prst="ellipse">
              <a:avLst/>
            </a:prstGeom>
            <a:solidFill>
              <a:srgbClr val="D5D5D5"/>
            </a:solidFill>
            <a:ln w="38100">
              <a:solidFill>
                <a:srgbClr val="0D65A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9" name="Group 88"/>
          <p:cNvGrpSpPr/>
          <p:nvPr/>
        </p:nvGrpSpPr>
        <p:grpSpPr>
          <a:xfrm>
            <a:off x="3282485" y="2783840"/>
            <a:ext cx="152083" cy="2756921"/>
            <a:chOff x="4343558" y="2783840"/>
            <a:chExt cx="152083" cy="2756921"/>
          </a:xfrm>
        </p:grpSpPr>
        <p:cxnSp>
          <p:nvCxnSpPr>
            <p:cNvPr id="90" name="Straight Connector 89"/>
            <p:cNvCxnSpPr>
              <a:endCxn id="91" idx="4"/>
            </p:cNvCxnSpPr>
            <p:nvPr/>
          </p:nvCxnSpPr>
          <p:spPr>
            <a:xfrm>
              <a:off x="4419600" y="2783840"/>
              <a:ext cx="0" cy="2756921"/>
            </a:xfrm>
            <a:prstGeom prst="line">
              <a:avLst/>
            </a:prstGeom>
            <a:ln>
              <a:solidFill>
                <a:srgbClr val="0D65A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1" name="Oval 90"/>
            <p:cNvSpPr/>
            <p:nvPr/>
          </p:nvSpPr>
          <p:spPr>
            <a:xfrm>
              <a:off x="4343558" y="5388678"/>
              <a:ext cx="152083" cy="152083"/>
            </a:xfrm>
            <a:prstGeom prst="ellipse">
              <a:avLst/>
            </a:prstGeom>
            <a:solidFill>
              <a:srgbClr val="D5D5D5"/>
            </a:solidFill>
            <a:ln w="38100">
              <a:solidFill>
                <a:srgbClr val="0D65A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2" name="Group 91"/>
          <p:cNvGrpSpPr/>
          <p:nvPr/>
        </p:nvGrpSpPr>
        <p:grpSpPr>
          <a:xfrm>
            <a:off x="4638012" y="2783840"/>
            <a:ext cx="152083" cy="2756921"/>
            <a:chOff x="6096158" y="2783840"/>
            <a:chExt cx="152083" cy="2756921"/>
          </a:xfrm>
        </p:grpSpPr>
        <p:cxnSp>
          <p:nvCxnSpPr>
            <p:cNvPr id="93" name="Straight Connector 92"/>
            <p:cNvCxnSpPr>
              <a:endCxn id="94" idx="4"/>
            </p:cNvCxnSpPr>
            <p:nvPr/>
          </p:nvCxnSpPr>
          <p:spPr>
            <a:xfrm>
              <a:off x="6172200" y="2783840"/>
              <a:ext cx="0" cy="2756921"/>
            </a:xfrm>
            <a:prstGeom prst="line">
              <a:avLst/>
            </a:prstGeom>
            <a:ln>
              <a:solidFill>
                <a:srgbClr val="0D65A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Oval 93"/>
            <p:cNvSpPr/>
            <p:nvPr/>
          </p:nvSpPr>
          <p:spPr>
            <a:xfrm>
              <a:off x="6096158" y="5388678"/>
              <a:ext cx="152083" cy="152083"/>
            </a:xfrm>
            <a:prstGeom prst="ellipse">
              <a:avLst/>
            </a:prstGeom>
            <a:solidFill>
              <a:srgbClr val="D5D5D5"/>
            </a:solidFill>
            <a:ln w="38100">
              <a:solidFill>
                <a:srgbClr val="0D65A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5" name="Group 94"/>
          <p:cNvGrpSpPr/>
          <p:nvPr/>
        </p:nvGrpSpPr>
        <p:grpSpPr>
          <a:xfrm>
            <a:off x="5993539" y="2783840"/>
            <a:ext cx="152083" cy="2756921"/>
            <a:chOff x="8145482" y="2783840"/>
            <a:chExt cx="152083" cy="2756921"/>
          </a:xfrm>
        </p:grpSpPr>
        <p:cxnSp>
          <p:nvCxnSpPr>
            <p:cNvPr id="96" name="Straight Connector 95"/>
            <p:cNvCxnSpPr>
              <a:endCxn id="97" idx="4"/>
            </p:cNvCxnSpPr>
            <p:nvPr/>
          </p:nvCxnSpPr>
          <p:spPr>
            <a:xfrm>
              <a:off x="8221524" y="2783840"/>
              <a:ext cx="0" cy="2756921"/>
            </a:xfrm>
            <a:prstGeom prst="line">
              <a:avLst/>
            </a:prstGeom>
            <a:ln>
              <a:solidFill>
                <a:srgbClr val="2A9B1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7" name="Oval 96"/>
            <p:cNvSpPr/>
            <p:nvPr/>
          </p:nvSpPr>
          <p:spPr>
            <a:xfrm>
              <a:off x="8145482" y="5388678"/>
              <a:ext cx="152083" cy="152083"/>
            </a:xfrm>
            <a:prstGeom prst="ellipse">
              <a:avLst/>
            </a:prstGeom>
            <a:solidFill>
              <a:srgbClr val="D5D5D5"/>
            </a:solidFill>
            <a:ln w="38100">
              <a:solidFill>
                <a:srgbClr val="2A9B1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8" name="Rectangle 97"/>
          <p:cNvSpPr/>
          <p:nvPr/>
        </p:nvSpPr>
        <p:spPr>
          <a:xfrm>
            <a:off x="647473" y="4373015"/>
            <a:ext cx="121023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 err="1">
                <a:solidFill>
                  <a:srgbClr val="000000"/>
                </a:solidFill>
              </a:rPr>
              <a:t>Lorem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b="1" dirty="0" err="1">
                <a:solidFill>
                  <a:srgbClr val="000000"/>
                </a:solidFill>
              </a:rPr>
              <a:t>Ipsum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dirty="0">
                <a:solidFill>
                  <a:srgbClr val="000000"/>
                </a:solidFill>
              </a:rPr>
              <a:t>is simply dummy text of the printing and typesetting</a:t>
            </a:r>
          </a:p>
        </p:txBody>
      </p:sp>
      <p:sp>
        <p:nvSpPr>
          <p:cNvPr id="99" name="Rectangle 98"/>
          <p:cNvSpPr/>
          <p:nvPr/>
        </p:nvSpPr>
        <p:spPr>
          <a:xfrm>
            <a:off x="2011498" y="4373015"/>
            <a:ext cx="121023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 err="1">
                <a:solidFill>
                  <a:srgbClr val="000000"/>
                </a:solidFill>
              </a:rPr>
              <a:t>Lorem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b="1" dirty="0" err="1">
                <a:solidFill>
                  <a:srgbClr val="000000"/>
                </a:solidFill>
              </a:rPr>
              <a:t>Ipsum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dirty="0">
                <a:solidFill>
                  <a:srgbClr val="000000"/>
                </a:solidFill>
              </a:rPr>
              <a:t>is simply dummy text of the printing and typesetting</a:t>
            </a:r>
          </a:p>
        </p:txBody>
      </p:sp>
      <p:sp>
        <p:nvSpPr>
          <p:cNvPr id="100" name="Rectangle 99"/>
          <p:cNvSpPr/>
          <p:nvPr/>
        </p:nvSpPr>
        <p:spPr>
          <a:xfrm>
            <a:off x="3375523" y="4373015"/>
            <a:ext cx="121023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 err="1">
                <a:solidFill>
                  <a:srgbClr val="000000"/>
                </a:solidFill>
              </a:rPr>
              <a:t>Lorem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b="1" dirty="0" err="1">
                <a:solidFill>
                  <a:srgbClr val="000000"/>
                </a:solidFill>
              </a:rPr>
              <a:t>Ipsum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dirty="0">
                <a:solidFill>
                  <a:srgbClr val="000000"/>
                </a:solidFill>
              </a:rPr>
              <a:t>is simply dummy text of the printing and typesetting</a:t>
            </a:r>
          </a:p>
        </p:txBody>
      </p:sp>
      <p:sp>
        <p:nvSpPr>
          <p:cNvPr id="101" name="Rectangle 100"/>
          <p:cNvSpPr/>
          <p:nvPr/>
        </p:nvSpPr>
        <p:spPr>
          <a:xfrm>
            <a:off x="4739548" y="4373015"/>
            <a:ext cx="121023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 err="1">
                <a:solidFill>
                  <a:srgbClr val="000000"/>
                </a:solidFill>
              </a:rPr>
              <a:t>Lorem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b="1" dirty="0" err="1">
                <a:solidFill>
                  <a:srgbClr val="000000"/>
                </a:solidFill>
              </a:rPr>
              <a:t>Ipsum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dirty="0">
                <a:solidFill>
                  <a:srgbClr val="000000"/>
                </a:solidFill>
              </a:rPr>
              <a:t>is simply dummy text of the printing and typesetting</a:t>
            </a:r>
          </a:p>
        </p:txBody>
      </p:sp>
      <p:sp>
        <p:nvSpPr>
          <p:cNvPr id="102" name="Rectangle 101"/>
          <p:cNvSpPr/>
          <p:nvPr/>
        </p:nvSpPr>
        <p:spPr>
          <a:xfrm>
            <a:off x="6103573" y="4373015"/>
            <a:ext cx="121023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 err="1">
                <a:solidFill>
                  <a:srgbClr val="000000"/>
                </a:solidFill>
              </a:rPr>
              <a:t>Lorem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b="1" dirty="0" err="1">
                <a:solidFill>
                  <a:srgbClr val="000000"/>
                </a:solidFill>
              </a:rPr>
              <a:t>Ipsum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dirty="0">
                <a:solidFill>
                  <a:srgbClr val="000000"/>
                </a:solidFill>
              </a:rPr>
              <a:t>is simply dummy text of the printing and typesetting</a:t>
            </a:r>
          </a:p>
        </p:txBody>
      </p:sp>
      <p:sp>
        <p:nvSpPr>
          <p:cNvPr id="103" name="Oval 102"/>
          <p:cNvSpPr/>
          <p:nvPr/>
        </p:nvSpPr>
        <p:spPr>
          <a:xfrm>
            <a:off x="334963" y="2269920"/>
            <a:ext cx="613186" cy="613186"/>
          </a:xfrm>
          <a:prstGeom prst="ellipse">
            <a:avLst/>
          </a:prstGeom>
          <a:solidFill>
            <a:srgbClr val="0D65AC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2010</a:t>
            </a:r>
            <a:endParaRPr lang="en-US" sz="900" b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4" name="Oval 103"/>
          <p:cNvSpPr/>
          <p:nvPr/>
        </p:nvSpPr>
        <p:spPr>
          <a:xfrm>
            <a:off x="1692106" y="2269920"/>
            <a:ext cx="613186" cy="613186"/>
          </a:xfrm>
          <a:prstGeom prst="ellipse">
            <a:avLst/>
          </a:prstGeom>
          <a:solidFill>
            <a:srgbClr val="0D65AC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2011</a:t>
            </a:r>
            <a:endParaRPr lang="en-US" sz="900" b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5" name="Oval 104"/>
          <p:cNvSpPr/>
          <p:nvPr/>
        </p:nvSpPr>
        <p:spPr>
          <a:xfrm>
            <a:off x="3049249" y="2269920"/>
            <a:ext cx="613186" cy="613186"/>
          </a:xfrm>
          <a:prstGeom prst="ellipse">
            <a:avLst/>
          </a:prstGeom>
          <a:solidFill>
            <a:srgbClr val="0D65AC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2012</a:t>
            </a:r>
            <a:endParaRPr lang="en-US" sz="900" b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6" name="Oval 105"/>
          <p:cNvSpPr/>
          <p:nvPr/>
        </p:nvSpPr>
        <p:spPr>
          <a:xfrm>
            <a:off x="4406392" y="2269920"/>
            <a:ext cx="613186" cy="613186"/>
          </a:xfrm>
          <a:prstGeom prst="ellipse">
            <a:avLst/>
          </a:prstGeom>
          <a:solidFill>
            <a:srgbClr val="0D65AC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2013</a:t>
            </a:r>
            <a:endParaRPr lang="en-US" sz="900" b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7" name="Oval 106"/>
          <p:cNvSpPr/>
          <p:nvPr/>
        </p:nvSpPr>
        <p:spPr>
          <a:xfrm>
            <a:off x="5763535" y="2269920"/>
            <a:ext cx="613186" cy="613186"/>
          </a:xfrm>
          <a:prstGeom prst="ellipse">
            <a:avLst/>
          </a:prstGeom>
          <a:solidFill>
            <a:srgbClr val="2A9B18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2014</a:t>
            </a:r>
            <a:endParaRPr lang="en-US" sz="900" b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8" name="Rectangle 107"/>
          <p:cNvSpPr/>
          <p:nvPr/>
        </p:nvSpPr>
        <p:spPr>
          <a:xfrm>
            <a:off x="647473" y="3014483"/>
            <a:ext cx="8190140" cy="194316"/>
          </a:xfrm>
          <a:prstGeom prst="rect">
            <a:avLst/>
          </a:prstGeom>
          <a:solidFill>
            <a:srgbClr val="D5D5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Rectangle 108"/>
          <p:cNvSpPr/>
          <p:nvPr/>
        </p:nvSpPr>
        <p:spPr>
          <a:xfrm>
            <a:off x="647473" y="3051314"/>
            <a:ext cx="5422107" cy="120655"/>
          </a:xfrm>
          <a:prstGeom prst="rect">
            <a:avLst/>
          </a:prstGeom>
          <a:solidFill>
            <a:srgbClr val="0D65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ectangle 109"/>
          <p:cNvSpPr/>
          <p:nvPr/>
        </p:nvSpPr>
        <p:spPr>
          <a:xfrm>
            <a:off x="647473" y="3268133"/>
            <a:ext cx="121023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 err="1">
                <a:solidFill>
                  <a:srgbClr val="000000"/>
                </a:solidFill>
              </a:rPr>
              <a:t>Lorem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b="1" dirty="0" err="1">
                <a:solidFill>
                  <a:srgbClr val="000000"/>
                </a:solidFill>
              </a:rPr>
              <a:t>Ipsum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dirty="0">
                <a:solidFill>
                  <a:srgbClr val="000000"/>
                </a:solidFill>
              </a:rPr>
              <a:t>is simply dummy text of the printing and typesetting</a:t>
            </a:r>
          </a:p>
        </p:txBody>
      </p:sp>
      <p:sp>
        <p:nvSpPr>
          <p:cNvPr id="111" name="Rectangle 110"/>
          <p:cNvSpPr/>
          <p:nvPr/>
        </p:nvSpPr>
        <p:spPr>
          <a:xfrm>
            <a:off x="2011498" y="3268133"/>
            <a:ext cx="121023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 err="1">
                <a:solidFill>
                  <a:srgbClr val="000000"/>
                </a:solidFill>
              </a:rPr>
              <a:t>Lorem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b="1" dirty="0" err="1">
                <a:solidFill>
                  <a:srgbClr val="000000"/>
                </a:solidFill>
              </a:rPr>
              <a:t>Ipsum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dirty="0">
                <a:solidFill>
                  <a:srgbClr val="000000"/>
                </a:solidFill>
              </a:rPr>
              <a:t>is simply dummy text of the printing and typesetting</a:t>
            </a:r>
          </a:p>
        </p:txBody>
      </p:sp>
      <p:sp>
        <p:nvSpPr>
          <p:cNvPr id="112" name="Rectangle 111"/>
          <p:cNvSpPr/>
          <p:nvPr/>
        </p:nvSpPr>
        <p:spPr>
          <a:xfrm>
            <a:off x="3375523" y="3268133"/>
            <a:ext cx="121023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 err="1">
                <a:solidFill>
                  <a:srgbClr val="000000"/>
                </a:solidFill>
              </a:rPr>
              <a:t>Lorem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b="1" dirty="0" err="1">
                <a:solidFill>
                  <a:srgbClr val="000000"/>
                </a:solidFill>
              </a:rPr>
              <a:t>Ipsum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dirty="0">
                <a:solidFill>
                  <a:srgbClr val="000000"/>
                </a:solidFill>
              </a:rPr>
              <a:t>is simply dummy text of the printing and typesetting</a:t>
            </a:r>
          </a:p>
        </p:txBody>
      </p:sp>
      <p:sp>
        <p:nvSpPr>
          <p:cNvPr id="113" name="Rectangle 112"/>
          <p:cNvSpPr/>
          <p:nvPr/>
        </p:nvSpPr>
        <p:spPr>
          <a:xfrm>
            <a:off x="4739548" y="3268133"/>
            <a:ext cx="121023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 err="1">
                <a:solidFill>
                  <a:srgbClr val="000000"/>
                </a:solidFill>
              </a:rPr>
              <a:t>Lorem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b="1" dirty="0" err="1">
                <a:solidFill>
                  <a:srgbClr val="000000"/>
                </a:solidFill>
              </a:rPr>
              <a:t>Ipsum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dirty="0">
                <a:solidFill>
                  <a:srgbClr val="000000"/>
                </a:solidFill>
              </a:rPr>
              <a:t>is simply dummy text of the printing and typesetting</a:t>
            </a:r>
          </a:p>
        </p:txBody>
      </p:sp>
      <p:sp>
        <p:nvSpPr>
          <p:cNvPr id="114" name="Rectangle 113"/>
          <p:cNvSpPr/>
          <p:nvPr/>
        </p:nvSpPr>
        <p:spPr>
          <a:xfrm>
            <a:off x="6103573" y="3268133"/>
            <a:ext cx="121023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 err="1">
                <a:solidFill>
                  <a:srgbClr val="000000"/>
                </a:solidFill>
              </a:rPr>
              <a:t>Lorem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b="1" dirty="0" err="1">
                <a:solidFill>
                  <a:srgbClr val="000000"/>
                </a:solidFill>
              </a:rPr>
              <a:t>Ipsum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dirty="0">
                <a:solidFill>
                  <a:srgbClr val="000000"/>
                </a:solidFill>
              </a:rPr>
              <a:t>is simply dummy text of the printing and typesetting</a:t>
            </a:r>
          </a:p>
        </p:txBody>
      </p:sp>
      <p:sp>
        <p:nvSpPr>
          <p:cNvPr id="118" name="Oval 117"/>
          <p:cNvSpPr/>
          <p:nvPr/>
        </p:nvSpPr>
        <p:spPr>
          <a:xfrm>
            <a:off x="7120676" y="2269920"/>
            <a:ext cx="613186" cy="613186"/>
          </a:xfrm>
          <a:prstGeom prst="ellipse">
            <a:avLst/>
          </a:prstGeom>
          <a:solidFill>
            <a:srgbClr val="0D65AC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2015</a:t>
            </a:r>
            <a:endParaRPr lang="en-US" sz="900" b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19" name="Rectangle 118"/>
          <p:cNvSpPr/>
          <p:nvPr/>
        </p:nvSpPr>
        <p:spPr>
          <a:xfrm>
            <a:off x="7467600" y="4373015"/>
            <a:ext cx="121023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 err="1">
                <a:solidFill>
                  <a:srgbClr val="000000"/>
                </a:solidFill>
              </a:rPr>
              <a:t>Lorem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b="1" dirty="0" err="1">
                <a:solidFill>
                  <a:srgbClr val="000000"/>
                </a:solidFill>
              </a:rPr>
              <a:t>Ipsum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dirty="0">
                <a:solidFill>
                  <a:srgbClr val="000000"/>
                </a:solidFill>
              </a:rPr>
              <a:t>is simply dummy text of the printing and typesetting</a:t>
            </a:r>
          </a:p>
        </p:txBody>
      </p:sp>
      <p:sp>
        <p:nvSpPr>
          <p:cNvPr id="120" name="Rectangle 119"/>
          <p:cNvSpPr/>
          <p:nvPr/>
        </p:nvSpPr>
        <p:spPr>
          <a:xfrm>
            <a:off x="7467600" y="3268133"/>
            <a:ext cx="121023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 err="1">
                <a:solidFill>
                  <a:srgbClr val="000000"/>
                </a:solidFill>
              </a:rPr>
              <a:t>Lorem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b="1" dirty="0" err="1">
                <a:solidFill>
                  <a:srgbClr val="000000"/>
                </a:solidFill>
              </a:rPr>
              <a:t>Ipsum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dirty="0">
                <a:solidFill>
                  <a:srgbClr val="000000"/>
                </a:solidFill>
              </a:rPr>
              <a:t>is simply dummy text of the printing and typesett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66141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4378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Replace this text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11</a:t>
            </a:fld>
            <a:r>
              <a:rPr lang="en-US" dirty="0" smtClean="0"/>
              <a:t> I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404717"/>
            <a:ext cx="7886700" cy="461665"/>
          </a:xfrm>
        </p:spPr>
        <p:txBody>
          <a:bodyPr/>
          <a:lstStyle/>
          <a:p>
            <a:r>
              <a:rPr lang="en-US" dirty="0"/>
              <a:t>BUSINESS PLAN</a:t>
            </a:r>
            <a:endParaRPr lang="en-US" dirty="0">
              <a:latin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  <p:sp>
        <p:nvSpPr>
          <p:cNvPr id="3" name="Pentagon 2"/>
          <p:cNvSpPr/>
          <p:nvPr/>
        </p:nvSpPr>
        <p:spPr>
          <a:xfrm>
            <a:off x="739866" y="1662113"/>
            <a:ext cx="1790170" cy="657754"/>
          </a:xfrm>
          <a:prstGeom prst="homePlate">
            <a:avLst/>
          </a:prstGeom>
          <a:solidFill>
            <a:srgbClr val="CE202A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alibri" charset="0"/>
                <a:cs typeface="ＭＳ Ｐゴシック" charset="-128"/>
              </a:rPr>
              <a:t>Step 1</a:t>
            </a:r>
          </a:p>
        </p:txBody>
      </p:sp>
      <p:sp>
        <p:nvSpPr>
          <p:cNvPr id="14" name="Chevron 13"/>
          <p:cNvSpPr/>
          <p:nvPr/>
        </p:nvSpPr>
        <p:spPr>
          <a:xfrm>
            <a:off x="2240291" y="1662113"/>
            <a:ext cx="1811867" cy="657754"/>
          </a:xfrm>
          <a:prstGeom prst="chevron">
            <a:avLst/>
          </a:prstGeom>
          <a:solidFill>
            <a:srgbClr val="F0B71F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alibri" charset="0"/>
                <a:cs typeface="ＭＳ Ｐゴシック" charset="-128"/>
              </a:rPr>
              <a:t>Step 2</a:t>
            </a:r>
          </a:p>
        </p:txBody>
      </p:sp>
      <p:sp>
        <p:nvSpPr>
          <p:cNvPr id="33" name="Chevron 32"/>
          <p:cNvSpPr/>
          <p:nvPr/>
        </p:nvSpPr>
        <p:spPr>
          <a:xfrm>
            <a:off x="3762413" y="1662113"/>
            <a:ext cx="1811867" cy="657754"/>
          </a:xfrm>
          <a:prstGeom prst="chevron">
            <a:avLst/>
          </a:prstGeom>
          <a:solidFill>
            <a:srgbClr val="0D65AC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alibri" charset="0"/>
                <a:cs typeface="ＭＳ Ｐゴシック" charset="-128"/>
              </a:rPr>
              <a:t>Step 3</a:t>
            </a:r>
          </a:p>
        </p:txBody>
      </p:sp>
      <p:sp>
        <p:nvSpPr>
          <p:cNvPr id="34" name="Chevron 33"/>
          <p:cNvSpPr/>
          <p:nvPr/>
        </p:nvSpPr>
        <p:spPr>
          <a:xfrm>
            <a:off x="5284535" y="1662113"/>
            <a:ext cx="1811867" cy="657754"/>
          </a:xfrm>
          <a:prstGeom prst="chevron">
            <a:avLst/>
          </a:prstGeom>
          <a:solidFill>
            <a:srgbClr val="073D69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alibri" charset="0"/>
                <a:cs typeface="ＭＳ Ｐゴシック" charset="-128"/>
              </a:rPr>
              <a:t>Step </a:t>
            </a:r>
            <a:r>
              <a:rPr lang="en-US" b="1" dirty="0" smtClean="0">
                <a:solidFill>
                  <a:schemeClr val="bg1"/>
                </a:solidFill>
                <a:latin typeface="Calibri" charset="0"/>
                <a:cs typeface="ＭＳ Ｐゴシック" charset="-128"/>
              </a:rPr>
              <a:t>4</a:t>
            </a:r>
            <a:endParaRPr lang="en-US" b="1" dirty="0">
              <a:solidFill>
                <a:schemeClr val="bg1"/>
              </a:solidFill>
              <a:latin typeface="Calibri" charset="0"/>
              <a:cs typeface="ＭＳ Ｐゴシック" charset="-128"/>
            </a:endParaRPr>
          </a:p>
        </p:txBody>
      </p:sp>
      <p:sp>
        <p:nvSpPr>
          <p:cNvPr id="35" name="Chevron 34"/>
          <p:cNvSpPr/>
          <p:nvPr/>
        </p:nvSpPr>
        <p:spPr>
          <a:xfrm>
            <a:off x="6806657" y="1662113"/>
            <a:ext cx="1811867" cy="657754"/>
          </a:xfrm>
          <a:prstGeom prst="chevron">
            <a:avLst/>
          </a:prstGeom>
          <a:solidFill>
            <a:srgbClr val="2A9B18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alibri" charset="0"/>
                <a:cs typeface="ＭＳ Ｐゴシック" charset="-128"/>
              </a:rPr>
              <a:t>Step </a:t>
            </a:r>
            <a:r>
              <a:rPr lang="en-US" b="1" dirty="0" smtClean="0">
                <a:solidFill>
                  <a:schemeClr val="bg1"/>
                </a:solidFill>
                <a:latin typeface="Calibri" charset="0"/>
                <a:cs typeface="ＭＳ Ｐゴシック" charset="-128"/>
              </a:rPr>
              <a:t>5</a:t>
            </a:r>
            <a:endParaRPr lang="en-US" b="1" dirty="0">
              <a:solidFill>
                <a:schemeClr val="bg1"/>
              </a:solidFill>
              <a:latin typeface="Calibri" charset="0"/>
              <a:cs typeface="ＭＳ Ｐゴシック" charset="-128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6806657" y="2387600"/>
            <a:ext cx="1500135" cy="1667933"/>
          </a:xfrm>
          <a:prstGeom prst="rect">
            <a:avLst/>
          </a:prstGeom>
          <a:solidFill>
            <a:srgbClr val="2A9B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>
                <a:solidFill>
                  <a:schemeClr val="bg1"/>
                </a:solidFill>
              </a:rPr>
              <a:t>Lorem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r>
              <a:rPr lang="en-US" sz="1200" b="1" dirty="0" err="1">
                <a:solidFill>
                  <a:schemeClr val="bg1"/>
                </a:solidFill>
              </a:rPr>
              <a:t>Ipsum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r>
              <a:rPr lang="en-US" sz="1200" dirty="0">
                <a:solidFill>
                  <a:schemeClr val="bg1"/>
                </a:solidFill>
              </a:rPr>
              <a:t>is simply dummy text of the printing and typesetting</a:t>
            </a:r>
          </a:p>
        </p:txBody>
      </p:sp>
      <p:sp>
        <p:nvSpPr>
          <p:cNvPr id="45" name="Rectangle 44"/>
          <p:cNvSpPr/>
          <p:nvPr/>
        </p:nvSpPr>
        <p:spPr>
          <a:xfrm>
            <a:off x="6806657" y="4080932"/>
            <a:ext cx="1500135" cy="499535"/>
          </a:xfrm>
          <a:prstGeom prst="rect">
            <a:avLst/>
          </a:prstGeom>
          <a:solidFill>
            <a:srgbClr val="2A9B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Example Text</a:t>
            </a:r>
          </a:p>
        </p:txBody>
      </p:sp>
      <p:sp>
        <p:nvSpPr>
          <p:cNvPr id="46" name="Rectangle 45"/>
          <p:cNvSpPr/>
          <p:nvPr/>
        </p:nvSpPr>
        <p:spPr>
          <a:xfrm>
            <a:off x="5291259" y="2387600"/>
            <a:ext cx="1500135" cy="1667933"/>
          </a:xfrm>
          <a:prstGeom prst="rect">
            <a:avLst/>
          </a:prstGeom>
          <a:solidFill>
            <a:srgbClr val="D5D5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>
                <a:solidFill>
                  <a:srgbClr val="000000"/>
                </a:solidFill>
              </a:rPr>
              <a:t>Lorem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b="1" dirty="0" err="1">
                <a:solidFill>
                  <a:srgbClr val="000000"/>
                </a:solidFill>
              </a:rPr>
              <a:t>Ipsum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dirty="0">
                <a:solidFill>
                  <a:srgbClr val="000000"/>
                </a:solidFill>
              </a:rPr>
              <a:t>is simply dummy text of the printing and typesetting</a:t>
            </a:r>
          </a:p>
        </p:txBody>
      </p:sp>
      <p:sp>
        <p:nvSpPr>
          <p:cNvPr id="47" name="Rectangle 46"/>
          <p:cNvSpPr/>
          <p:nvPr/>
        </p:nvSpPr>
        <p:spPr>
          <a:xfrm>
            <a:off x="5291259" y="4080932"/>
            <a:ext cx="1500135" cy="499535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0000"/>
                </a:solidFill>
              </a:rPr>
              <a:t>Example Text</a:t>
            </a:r>
          </a:p>
        </p:txBody>
      </p:sp>
      <p:sp>
        <p:nvSpPr>
          <p:cNvPr id="48" name="Rectangle 47"/>
          <p:cNvSpPr/>
          <p:nvPr/>
        </p:nvSpPr>
        <p:spPr>
          <a:xfrm>
            <a:off x="3775862" y="2387600"/>
            <a:ext cx="1500135" cy="1667933"/>
          </a:xfrm>
          <a:prstGeom prst="rect">
            <a:avLst/>
          </a:prstGeom>
          <a:solidFill>
            <a:srgbClr val="D5D5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>
                <a:solidFill>
                  <a:srgbClr val="000000"/>
                </a:solidFill>
              </a:rPr>
              <a:t>Lorem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b="1" dirty="0" err="1">
                <a:solidFill>
                  <a:srgbClr val="000000"/>
                </a:solidFill>
              </a:rPr>
              <a:t>Ipsum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dirty="0">
                <a:solidFill>
                  <a:srgbClr val="000000"/>
                </a:solidFill>
              </a:rPr>
              <a:t>is simply dummy text of the printing and typesetting</a:t>
            </a:r>
          </a:p>
        </p:txBody>
      </p:sp>
      <p:sp>
        <p:nvSpPr>
          <p:cNvPr id="49" name="Rectangle 48"/>
          <p:cNvSpPr/>
          <p:nvPr/>
        </p:nvSpPr>
        <p:spPr>
          <a:xfrm>
            <a:off x="3775862" y="4080932"/>
            <a:ext cx="1500135" cy="499535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0000"/>
                </a:solidFill>
              </a:rPr>
              <a:t>Example Text</a:t>
            </a:r>
          </a:p>
        </p:txBody>
      </p:sp>
      <p:sp>
        <p:nvSpPr>
          <p:cNvPr id="50" name="Rectangle 49"/>
          <p:cNvSpPr/>
          <p:nvPr/>
        </p:nvSpPr>
        <p:spPr>
          <a:xfrm>
            <a:off x="2260465" y="2387600"/>
            <a:ext cx="1500135" cy="1667933"/>
          </a:xfrm>
          <a:prstGeom prst="rect">
            <a:avLst/>
          </a:prstGeom>
          <a:solidFill>
            <a:srgbClr val="D5D5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>
                <a:solidFill>
                  <a:srgbClr val="000000"/>
                </a:solidFill>
              </a:rPr>
              <a:t>Lorem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b="1" dirty="0" err="1">
                <a:solidFill>
                  <a:srgbClr val="000000"/>
                </a:solidFill>
              </a:rPr>
              <a:t>Ipsum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dirty="0">
                <a:solidFill>
                  <a:srgbClr val="000000"/>
                </a:solidFill>
              </a:rPr>
              <a:t>is simply dummy text of the printing and typesetting</a:t>
            </a:r>
          </a:p>
        </p:txBody>
      </p:sp>
      <p:sp>
        <p:nvSpPr>
          <p:cNvPr id="52" name="Rectangle 51"/>
          <p:cNvSpPr/>
          <p:nvPr/>
        </p:nvSpPr>
        <p:spPr>
          <a:xfrm>
            <a:off x="2260465" y="4080932"/>
            <a:ext cx="1500135" cy="499535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0000"/>
                </a:solidFill>
              </a:rPr>
              <a:t>Example Text</a:t>
            </a:r>
          </a:p>
        </p:txBody>
      </p:sp>
      <p:sp>
        <p:nvSpPr>
          <p:cNvPr id="59" name="Rectangle 58"/>
          <p:cNvSpPr/>
          <p:nvPr/>
        </p:nvSpPr>
        <p:spPr>
          <a:xfrm>
            <a:off x="745068" y="2387600"/>
            <a:ext cx="1500135" cy="1667933"/>
          </a:xfrm>
          <a:prstGeom prst="rect">
            <a:avLst/>
          </a:prstGeom>
          <a:solidFill>
            <a:srgbClr val="D5D5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>
                <a:solidFill>
                  <a:srgbClr val="000000"/>
                </a:solidFill>
              </a:rPr>
              <a:t>Lorem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b="1" dirty="0" err="1">
                <a:solidFill>
                  <a:srgbClr val="000000"/>
                </a:solidFill>
              </a:rPr>
              <a:t>Ipsum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dirty="0">
                <a:solidFill>
                  <a:srgbClr val="000000"/>
                </a:solidFill>
              </a:rPr>
              <a:t>is simply dummy text of the printing and typesetting</a:t>
            </a:r>
          </a:p>
        </p:txBody>
      </p:sp>
      <p:sp>
        <p:nvSpPr>
          <p:cNvPr id="71" name="Rectangle 70"/>
          <p:cNvSpPr/>
          <p:nvPr/>
        </p:nvSpPr>
        <p:spPr>
          <a:xfrm>
            <a:off x="745068" y="4080932"/>
            <a:ext cx="1500135" cy="499535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000000"/>
                </a:solidFill>
              </a:rPr>
              <a:t>Example Text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6806657" y="4605865"/>
            <a:ext cx="1500135" cy="1015547"/>
          </a:xfrm>
          <a:prstGeom prst="rect">
            <a:avLst/>
          </a:prstGeom>
          <a:solidFill>
            <a:srgbClr val="2A9B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>
                <a:solidFill>
                  <a:schemeClr val="bg1"/>
                </a:solidFill>
              </a:rPr>
              <a:t>Lorem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r>
              <a:rPr lang="en-US" sz="1200" b="1" dirty="0" err="1">
                <a:solidFill>
                  <a:schemeClr val="bg1"/>
                </a:solidFill>
              </a:rPr>
              <a:t>Ipsum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r>
              <a:rPr lang="en-US" sz="1200" dirty="0">
                <a:solidFill>
                  <a:schemeClr val="bg1"/>
                </a:solidFill>
              </a:rPr>
              <a:t>is simply dummy text </a:t>
            </a:r>
          </a:p>
        </p:txBody>
      </p:sp>
      <p:sp>
        <p:nvSpPr>
          <p:cNvPr id="73" name="Rectangle 72"/>
          <p:cNvSpPr/>
          <p:nvPr/>
        </p:nvSpPr>
        <p:spPr>
          <a:xfrm>
            <a:off x="5291259" y="4605865"/>
            <a:ext cx="1500135" cy="1015547"/>
          </a:xfrm>
          <a:prstGeom prst="rect">
            <a:avLst/>
          </a:prstGeom>
          <a:solidFill>
            <a:srgbClr val="D5D5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>
                <a:solidFill>
                  <a:srgbClr val="000000"/>
                </a:solidFill>
              </a:rPr>
              <a:t>Lorem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b="1" dirty="0" err="1">
                <a:solidFill>
                  <a:srgbClr val="000000"/>
                </a:solidFill>
              </a:rPr>
              <a:t>Ipsum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dirty="0">
                <a:solidFill>
                  <a:srgbClr val="000000"/>
                </a:solidFill>
              </a:rPr>
              <a:t>is simply dummy text </a:t>
            </a:r>
            <a:endParaRPr lang="en-US" sz="1200" dirty="0"/>
          </a:p>
        </p:txBody>
      </p:sp>
      <p:sp>
        <p:nvSpPr>
          <p:cNvPr id="74" name="Rectangle 73"/>
          <p:cNvSpPr/>
          <p:nvPr/>
        </p:nvSpPr>
        <p:spPr>
          <a:xfrm>
            <a:off x="3775862" y="4605865"/>
            <a:ext cx="1500135" cy="1015547"/>
          </a:xfrm>
          <a:prstGeom prst="rect">
            <a:avLst/>
          </a:prstGeom>
          <a:solidFill>
            <a:srgbClr val="D5D5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>
                <a:solidFill>
                  <a:srgbClr val="000000"/>
                </a:solidFill>
              </a:rPr>
              <a:t>Lorem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b="1" dirty="0" err="1">
                <a:solidFill>
                  <a:srgbClr val="000000"/>
                </a:solidFill>
              </a:rPr>
              <a:t>Ipsum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dirty="0">
                <a:solidFill>
                  <a:srgbClr val="000000"/>
                </a:solidFill>
              </a:rPr>
              <a:t>is simply dummy text </a:t>
            </a:r>
            <a:endParaRPr lang="en-US" sz="1200" dirty="0"/>
          </a:p>
        </p:txBody>
      </p:sp>
      <p:sp>
        <p:nvSpPr>
          <p:cNvPr id="75" name="Rectangle 74"/>
          <p:cNvSpPr/>
          <p:nvPr/>
        </p:nvSpPr>
        <p:spPr>
          <a:xfrm>
            <a:off x="2260465" y="4605865"/>
            <a:ext cx="1500135" cy="1015547"/>
          </a:xfrm>
          <a:prstGeom prst="rect">
            <a:avLst/>
          </a:prstGeom>
          <a:solidFill>
            <a:srgbClr val="D5D5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>
                <a:solidFill>
                  <a:srgbClr val="000000"/>
                </a:solidFill>
              </a:rPr>
              <a:t>Lorem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b="1" dirty="0" err="1">
                <a:solidFill>
                  <a:srgbClr val="000000"/>
                </a:solidFill>
              </a:rPr>
              <a:t>Ipsum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dirty="0">
                <a:solidFill>
                  <a:srgbClr val="000000"/>
                </a:solidFill>
              </a:rPr>
              <a:t>is simply dummy text </a:t>
            </a:r>
            <a:endParaRPr lang="en-US" sz="1200" dirty="0"/>
          </a:p>
        </p:txBody>
      </p:sp>
      <p:sp>
        <p:nvSpPr>
          <p:cNvPr id="76" name="Rectangle 75"/>
          <p:cNvSpPr/>
          <p:nvPr/>
        </p:nvSpPr>
        <p:spPr>
          <a:xfrm>
            <a:off x="745068" y="4605865"/>
            <a:ext cx="1500135" cy="1015547"/>
          </a:xfrm>
          <a:prstGeom prst="rect">
            <a:avLst/>
          </a:prstGeom>
          <a:solidFill>
            <a:srgbClr val="D5D5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>
                <a:solidFill>
                  <a:srgbClr val="000000"/>
                </a:solidFill>
              </a:rPr>
              <a:t>Lorem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b="1" dirty="0" err="1">
                <a:solidFill>
                  <a:srgbClr val="000000"/>
                </a:solidFill>
              </a:rPr>
              <a:t>Ipsum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dirty="0">
                <a:solidFill>
                  <a:srgbClr val="000000"/>
                </a:solidFill>
              </a:rPr>
              <a:t>is simply dummy text </a:t>
            </a:r>
            <a:endParaRPr lang="en-US" sz="12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37678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4378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Replace this text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12</a:t>
            </a:fld>
            <a:r>
              <a:rPr lang="en-US" dirty="0" smtClean="0"/>
              <a:t> I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404717"/>
            <a:ext cx="7886700" cy="461665"/>
          </a:xfrm>
        </p:spPr>
        <p:txBody>
          <a:bodyPr/>
          <a:lstStyle/>
          <a:p>
            <a:r>
              <a:rPr lang="en-US" dirty="0"/>
              <a:t>BUSINESS PLAN</a:t>
            </a:r>
            <a:endParaRPr lang="en-US" dirty="0">
              <a:latin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  <p:sp>
        <p:nvSpPr>
          <p:cNvPr id="8" name="Line 33"/>
          <p:cNvSpPr>
            <a:spLocks noChangeShapeType="1"/>
          </p:cNvSpPr>
          <p:nvPr/>
        </p:nvSpPr>
        <p:spPr bwMode="auto">
          <a:xfrm rot="10800000" flipH="1">
            <a:off x="4954052" y="1985544"/>
            <a:ext cx="972729" cy="976442"/>
          </a:xfrm>
          <a:prstGeom prst="line">
            <a:avLst/>
          </a:prstGeom>
          <a:noFill/>
          <a:ln w="19050">
            <a:solidFill>
              <a:srgbClr val="7F7F7F"/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100" kern="0">
              <a:solidFill>
                <a:sysClr val="windowText" lastClr="000000"/>
              </a:solidFill>
              <a:latin typeface="Arial" pitchFamily="34" charset="0"/>
              <a:ea typeface="ＭＳ Ｐゴシック" pitchFamily="-65" charset="-128"/>
              <a:cs typeface="ＭＳ Ｐゴシック" pitchFamily="-65" charset="-128"/>
            </a:endParaRPr>
          </a:p>
        </p:txBody>
      </p:sp>
      <p:sp>
        <p:nvSpPr>
          <p:cNvPr id="9" name="Line 33"/>
          <p:cNvSpPr>
            <a:spLocks noChangeShapeType="1"/>
          </p:cNvSpPr>
          <p:nvPr/>
        </p:nvSpPr>
        <p:spPr bwMode="auto">
          <a:xfrm rot="10800000">
            <a:off x="4954052" y="4266383"/>
            <a:ext cx="972729" cy="976441"/>
          </a:xfrm>
          <a:prstGeom prst="line">
            <a:avLst/>
          </a:prstGeom>
          <a:noFill/>
          <a:ln w="19050">
            <a:solidFill>
              <a:srgbClr val="7F7F7F"/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100" kern="0">
              <a:solidFill>
                <a:sysClr val="windowText" lastClr="000000"/>
              </a:solidFill>
              <a:latin typeface="Arial" pitchFamily="34" charset="0"/>
              <a:ea typeface="ＭＳ Ｐゴシック" pitchFamily="-65" charset="-128"/>
              <a:cs typeface="ＭＳ Ｐゴシック" pitchFamily="-65" charset="-128"/>
            </a:endParaRPr>
          </a:p>
        </p:txBody>
      </p:sp>
      <p:sp>
        <p:nvSpPr>
          <p:cNvPr id="11" name="Line 33"/>
          <p:cNvSpPr>
            <a:spLocks noChangeShapeType="1"/>
          </p:cNvSpPr>
          <p:nvPr/>
        </p:nvSpPr>
        <p:spPr bwMode="auto">
          <a:xfrm rot="5400000" flipH="1" flipV="1">
            <a:off x="4239975" y="3652549"/>
            <a:ext cx="1425679" cy="2475"/>
          </a:xfrm>
          <a:prstGeom prst="line">
            <a:avLst/>
          </a:prstGeom>
          <a:noFill/>
          <a:ln w="19050">
            <a:solidFill>
              <a:srgbClr val="7F7F7F"/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100" kern="0">
              <a:solidFill>
                <a:sysClr val="windowText" lastClr="000000"/>
              </a:solidFill>
              <a:latin typeface="Arial" pitchFamily="34" charset="0"/>
              <a:ea typeface="ＭＳ Ｐゴシック" pitchFamily="-65" charset="-128"/>
              <a:cs typeface="ＭＳ Ｐゴシック" pitchFamily="-65" charset="-128"/>
            </a:endParaRPr>
          </a:p>
        </p:txBody>
      </p:sp>
      <p:sp>
        <p:nvSpPr>
          <p:cNvPr id="13" name="Line 33"/>
          <p:cNvSpPr>
            <a:spLocks noChangeShapeType="1"/>
          </p:cNvSpPr>
          <p:nvPr/>
        </p:nvSpPr>
        <p:spPr bwMode="auto">
          <a:xfrm rot="10800000" flipH="1">
            <a:off x="2011113" y="2450870"/>
            <a:ext cx="1157126" cy="1204155"/>
          </a:xfrm>
          <a:prstGeom prst="line">
            <a:avLst/>
          </a:prstGeom>
          <a:noFill/>
          <a:ln w="19050">
            <a:solidFill>
              <a:srgbClr val="7F7F7F"/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100" kern="0">
              <a:solidFill>
                <a:sysClr val="windowText" lastClr="000000"/>
              </a:solidFill>
              <a:latin typeface="Arial" pitchFamily="34" charset="0"/>
              <a:ea typeface="ＭＳ Ｐゴシック" pitchFamily="-65" charset="-128"/>
              <a:cs typeface="ＭＳ Ｐゴシック" pitchFamily="-65" charset="-128"/>
            </a:endParaRPr>
          </a:p>
        </p:txBody>
      </p:sp>
      <p:sp>
        <p:nvSpPr>
          <p:cNvPr id="14" name="Line 33"/>
          <p:cNvSpPr>
            <a:spLocks noChangeShapeType="1"/>
          </p:cNvSpPr>
          <p:nvPr/>
        </p:nvSpPr>
        <p:spPr bwMode="auto">
          <a:xfrm rot="10800000" flipH="1" flipV="1">
            <a:off x="2011113" y="3652550"/>
            <a:ext cx="1157126" cy="1193016"/>
          </a:xfrm>
          <a:prstGeom prst="line">
            <a:avLst/>
          </a:prstGeom>
          <a:noFill/>
          <a:ln w="19050">
            <a:solidFill>
              <a:srgbClr val="7F7F7F"/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100" kern="0">
              <a:solidFill>
                <a:sysClr val="windowText" lastClr="000000"/>
              </a:solidFill>
              <a:latin typeface="Arial" pitchFamily="34" charset="0"/>
              <a:ea typeface="ＭＳ Ｐゴシック" pitchFamily="-65" charset="-128"/>
              <a:cs typeface="ＭＳ Ｐゴシック" pitchFamily="-65" charset="-128"/>
            </a:endParaRPr>
          </a:p>
        </p:txBody>
      </p:sp>
      <p:sp>
        <p:nvSpPr>
          <p:cNvPr id="15" name="Line 33"/>
          <p:cNvSpPr>
            <a:spLocks noChangeShapeType="1"/>
          </p:cNvSpPr>
          <p:nvPr/>
        </p:nvSpPr>
        <p:spPr bwMode="auto">
          <a:xfrm rot="10800000" flipH="1">
            <a:off x="3851377" y="2674870"/>
            <a:ext cx="972729" cy="977679"/>
          </a:xfrm>
          <a:prstGeom prst="line">
            <a:avLst/>
          </a:prstGeom>
          <a:noFill/>
          <a:ln w="19050">
            <a:solidFill>
              <a:srgbClr val="7F7F7F"/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100" kern="0">
              <a:solidFill>
                <a:sysClr val="windowText" lastClr="000000"/>
              </a:solidFill>
              <a:latin typeface="Arial" pitchFamily="34" charset="0"/>
              <a:ea typeface="ＭＳ Ｐゴシック" pitchFamily="-65" charset="-128"/>
              <a:cs typeface="ＭＳ Ｐゴシック" pitchFamily="-65" charset="-128"/>
            </a:endParaRPr>
          </a:p>
        </p:txBody>
      </p:sp>
      <p:sp>
        <p:nvSpPr>
          <p:cNvPr id="16" name="Line 33"/>
          <p:cNvSpPr>
            <a:spLocks noChangeShapeType="1"/>
          </p:cNvSpPr>
          <p:nvPr/>
        </p:nvSpPr>
        <p:spPr bwMode="auto">
          <a:xfrm rot="10800000" flipH="1" flipV="1">
            <a:off x="3866228" y="3652550"/>
            <a:ext cx="1084110" cy="949215"/>
          </a:xfrm>
          <a:prstGeom prst="line">
            <a:avLst/>
          </a:prstGeom>
          <a:noFill/>
          <a:ln w="19050">
            <a:solidFill>
              <a:srgbClr val="7F7F7F"/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100" kern="0">
              <a:solidFill>
                <a:sysClr val="windowText" lastClr="000000"/>
              </a:solidFill>
              <a:latin typeface="Arial" pitchFamily="34" charset="0"/>
              <a:ea typeface="ＭＳ Ｐゴシック" pitchFamily="-65" charset="-128"/>
              <a:cs typeface="ＭＳ Ｐゴシック" pitchFamily="-65" charset="-128"/>
            </a:endParaRPr>
          </a:p>
        </p:txBody>
      </p:sp>
      <p:grpSp>
        <p:nvGrpSpPr>
          <p:cNvPr id="42" name="Group 41"/>
          <p:cNvGrpSpPr/>
          <p:nvPr/>
        </p:nvGrpSpPr>
        <p:grpSpPr>
          <a:xfrm>
            <a:off x="4364969" y="2352841"/>
            <a:ext cx="1145989" cy="1091535"/>
            <a:chOff x="4364969" y="2352841"/>
            <a:chExt cx="1145989" cy="1091535"/>
          </a:xfrm>
        </p:grpSpPr>
        <p:sp>
          <p:nvSpPr>
            <p:cNvPr id="21" name="Rounded Rectangle 20"/>
            <p:cNvSpPr/>
            <p:nvPr/>
          </p:nvSpPr>
          <p:spPr bwMode="auto">
            <a:xfrm>
              <a:off x="4364969" y="2352841"/>
              <a:ext cx="1145989" cy="1091535"/>
            </a:xfrm>
            <a:prstGeom prst="roundRect">
              <a:avLst>
                <a:gd name="adj" fmla="val 6103"/>
              </a:avLst>
            </a:prstGeom>
            <a:solidFill>
              <a:srgbClr val="D5D5D5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0" name="Rektangel 63"/>
            <p:cNvSpPr>
              <a:spLocks noChangeArrowheads="1"/>
            </p:cNvSpPr>
            <p:nvPr/>
          </p:nvSpPr>
          <p:spPr bwMode="auto">
            <a:xfrm>
              <a:off x="4423134" y="2581598"/>
              <a:ext cx="1013569" cy="6340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/>
            <a:p>
              <a:pPr defTabSz="801688">
                <a:spcBef>
                  <a:spcPct val="20000"/>
                </a:spcBef>
              </a:pPr>
              <a:r>
                <a:rPr lang="en-US" sz="1100" b="1" noProof="1">
                  <a:solidFill>
                    <a:srgbClr val="080808"/>
                  </a:solidFill>
                  <a:latin typeface="Calibri" charset="0"/>
                  <a:cs typeface="Arial" charset="0"/>
                </a:rPr>
                <a:t>Example text</a:t>
              </a:r>
            </a:p>
            <a:p>
              <a:pPr defTabSz="801688">
                <a:spcBef>
                  <a:spcPct val="20000"/>
                </a:spcBef>
              </a:pPr>
              <a:r>
                <a:rPr lang="en-US" sz="1100" noProof="1">
                  <a:solidFill>
                    <a:srgbClr val="080808"/>
                  </a:solidFill>
                  <a:latin typeface="Calibri" charset="0"/>
                  <a:cs typeface="Arial" charset="0"/>
                </a:rPr>
                <a:t>This is an example text. </a:t>
              </a:r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4364969" y="3893091"/>
            <a:ext cx="1145989" cy="1091535"/>
            <a:chOff x="4364969" y="3893091"/>
            <a:chExt cx="1145989" cy="1091535"/>
          </a:xfrm>
        </p:grpSpPr>
        <p:sp>
          <p:nvSpPr>
            <p:cNvPr id="22" name="Rounded Rectangle 21"/>
            <p:cNvSpPr/>
            <p:nvPr/>
          </p:nvSpPr>
          <p:spPr bwMode="auto">
            <a:xfrm>
              <a:off x="4364969" y="3893091"/>
              <a:ext cx="1145989" cy="1091535"/>
            </a:xfrm>
            <a:prstGeom prst="roundRect">
              <a:avLst>
                <a:gd name="adj" fmla="val 6103"/>
              </a:avLst>
            </a:prstGeom>
            <a:solidFill>
              <a:srgbClr val="D5D5D5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1" name="Rektangel 63"/>
            <p:cNvSpPr>
              <a:spLocks noChangeArrowheads="1"/>
            </p:cNvSpPr>
            <p:nvPr/>
          </p:nvSpPr>
          <p:spPr bwMode="auto">
            <a:xfrm>
              <a:off x="4423134" y="4121848"/>
              <a:ext cx="1013569" cy="6340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/>
            <a:p>
              <a:pPr defTabSz="801688">
                <a:spcBef>
                  <a:spcPct val="20000"/>
                </a:spcBef>
              </a:pPr>
              <a:r>
                <a:rPr lang="en-US" sz="1100" b="1" noProof="1">
                  <a:solidFill>
                    <a:srgbClr val="080808"/>
                  </a:solidFill>
                  <a:latin typeface="Calibri" charset="0"/>
                  <a:cs typeface="Arial" charset="0"/>
                </a:rPr>
                <a:t>Example text</a:t>
              </a:r>
            </a:p>
            <a:p>
              <a:pPr defTabSz="801688">
                <a:spcBef>
                  <a:spcPct val="20000"/>
                </a:spcBef>
              </a:pPr>
              <a:r>
                <a:rPr lang="en-US" sz="1100" noProof="1">
                  <a:solidFill>
                    <a:srgbClr val="080808"/>
                  </a:solidFill>
                  <a:latin typeface="Calibri" charset="0"/>
                  <a:cs typeface="Arial" charset="0"/>
                </a:rPr>
                <a:t>This is an example text. </a:t>
              </a: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2943002" y="1583335"/>
            <a:ext cx="1145989" cy="1091535"/>
            <a:chOff x="2943002" y="1583335"/>
            <a:chExt cx="1145989" cy="1091535"/>
          </a:xfrm>
        </p:grpSpPr>
        <p:sp>
          <p:nvSpPr>
            <p:cNvPr id="19" name="Rounded Rectangle 18"/>
            <p:cNvSpPr/>
            <p:nvPr/>
          </p:nvSpPr>
          <p:spPr bwMode="auto">
            <a:xfrm>
              <a:off x="2943002" y="1583335"/>
              <a:ext cx="1145989" cy="1091535"/>
            </a:xfrm>
            <a:prstGeom prst="roundRect">
              <a:avLst>
                <a:gd name="adj" fmla="val 6103"/>
              </a:avLst>
            </a:prstGeom>
            <a:solidFill>
              <a:srgbClr val="F0B71F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7" name="Rektangel 63"/>
            <p:cNvSpPr>
              <a:spLocks noChangeArrowheads="1"/>
            </p:cNvSpPr>
            <p:nvPr/>
          </p:nvSpPr>
          <p:spPr bwMode="auto">
            <a:xfrm>
              <a:off x="2990030" y="1812092"/>
              <a:ext cx="1013569" cy="6340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/>
            <a:p>
              <a:pPr defTabSz="801688">
                <a:spcBef>
                  <a:spcPct val="20000"/>
                </a:spcBef>
              </a:pPr>
              <a:r>
                <a:rPr lang="en-US" sz="1100" b="1" noProof="1">
                  <a:solidFill>
                    <a:srgbClr val="080808"/>
                  </a:solidFill>
                  <a:latin typeface="Calibri" charset="0"/>
                  <a:cs typeface="Arial" charset="0"/>
                </a:rPr>
                <a:t>Example text</a:t>
              </a:r>
            </a:p>
            <a:p>
              <a:pPr defTabSz="801688">
                <a:spcBef>
                  <a:spcPct val="20000"/>
                </a:spcBef>
              </a:pPr>
              <a:r>
                <a:rPr lang="en-US" sz="1100" noProof="1">
                  <a:solidFill>
                    <a:srgbClr val="080808"/>
                  </a:solidFill>
                  <a:latin typeface="Calibri" charset="0"/>
                  <a:cs typeface="Arial" charset="0"/>
                </a:rPr>
                <a:t>This is an example text. </a:t>
              </a:r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5879753" y="1583335"/>
            <a:ext cx="1145989" cy="1091535"/>
            <a:chOff x="5879753" y="1583335"/>
            <a:chExt cx="1145989" cy="1091535"/>
          </a:xfrm>
        </p:grpSpPr>
        <p:sp>
          <p:nvSpPr>
            <p:cNvPr id="24" name="Rounded Rectangle 23"/>
            <p:cNvSpPr/>
            <p:nvPr/>
          </p:nvSpPr>
          <p:spPr bwMode="auto">
            <a:xfrm>
              <a:off x="5879753" y="1583335"/>
              <a:ext cx="1145989" cy="1091535"/>
            </a:xfrm>
            <a:prstGeom prst="roundRect">
              <a:avLst>
                <a:gd name="adj" fmla="val 6103"/>
              </a:avLst>
            </a:prstGeom>
            <a:solidFill>
              <a:srgbClr val="D5D5D5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2" name="Rektangel 63"/>
            <p:cNvSpPr>
              <a:spLocks noChangeArrowheads="1"/>
            </p:cNvSpPr>
            <p:nvPr/>
          </p:nvSpPr>
          <p:spPr bwMode="auto">
            <a:xfrm>
              <a:off x="5926781" y="1812092"/>
              <a:ext cx="1013569" cy="6340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/>
            <a:p>
              <a:pPr defTabSz="801688">
                <a:spcBef>
                  <a:spcPct val="20000"/>
                </a:spcBef>
              </a:pPr>
              <a:r>
                <a:rPr lang="en-US" sz="1100" b="1" noProof="1">
                  <a:solidFill>
                    <a:srgbClr val="080808"/>
                  </a:solidFill>
                  <a:latin typeface="Calibri" charset="0"/>
                  <a:cs typeface="Arial" charset="0"/>
                </a:rPr>
                <a:t>Example text</a:t>
              </a:r>
            </a:p>
            <a:p>
              <a:pPr defTabSz="801688">
                <a:spcBef>
                  <a:spcPct val="20000"/>
                </a:spcBef>
              </a:pPr>
              <a:r>
                <a:rPr lang="en-US" sz="1100" noProof="1">
                  <a:solidFill>
                    <a:srgbClr val="080808"/>
                  </a:solidFill>
                  <a:latin typeface="Calibri" charset="0"/>
                  <a:cs typeface="Arial" charset="0"/>
                </a:rPr>
                <a:t>This is an example text. </a:t>
              </a:r>
            </a:p>
          </p:txBody>
        </p:sp>
      </p:grpSp>
      <p:sp>
        <p:nvSpPr>
          <p:cNvPr id="7" name="Line 33"/>
          <p:cNvSpPr>
            <a:spLocks noChangeShapeType="1"/>
          </p:cNvSpPr>
          <p:nvPr/>
        </p:nvSpPr>
        <p:spPr bwMode="auto">
          <a:xfrm rot="10800000" flipH="1" flipV="1">
            <a:off x="4959002" y="3667495"/>
            <a:ext cx="1425679" cy="2475"/>
          </a:xfrm>
          <a:prstGeom prst="line">
            <a:avLst/>
          </a:prstGeom>
          <a:noFill/>
          <a:ln w="19050">
            <a:solidFill>
              <a:srgbClr val="7F7F7F"/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100" kern="0">
              <a:solidFill>
                <a:sysClr val="windowText" lastClr="000000"/>
              </a:solidFill>
              <a:latin typeface="Arial" pitchFamily="34" charset="0"/>
              <a:ea typeface="ＭＳ Ｐゴシック" pitchFamily="-65" charset="-128"/>
              <a:cs typeface="ＭＳ Ｐゴシック" pitchFamily="-65" charset="-128"/>
            </a:endParaRPr>
          </a:p>
        </p:txBody>
      </p:sp>
      <p:sp>
        <p:nvSpPr>
          <p:cNvPr id="12" name="Line 33"/>
          <p:cNvSpPr>
            <a:spLocks noChangeShapeType="1"/>
          </p:cNvSpPr>
          <p:nvPr/>
        </p:nvSpPr>
        <p:spPr bwMode="auto">
          <a:xfrm rot="10800000" flipH="1" flipV="1">
            <a:off x="2011113" y="3667495"/>
            <a:ext cx="1425679" cy="2475"/>
          </a:xfrm>
          <a:prstGeom prst="line">
            <a:avLst/>
          </a:prstGeom>
          <a:noFill/>
          <a:ln w="19050">
            <a:solidFill>
              <a:srgbClr val="7F7F7F"/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endParaRPr lang="da-DK" sz="1100" kern="0">
              <a:solidFill>
                <a:sysClr val="windowText" lastClr="000000"/>
              </a:solidFill>
              <a:latin typeface="Arial" pitchFamily="34" charset="0"/>
              <a:ea typeface="ＭＳ Ｐゴシック" pitchFamily="-65" charset="-128"/>
              <a:cs typeface="ＭＳ Ｐゴシック" pitchFamily="-65" charset="-128"/>
            </a:endParaRPr>
          </a:p>
        </p:txBody>
      </p:sp>
      <p:grpSp>
        <p:nvGrpSpPr>
          <p:cNvPr id="46" name="Group 45"/>
          <p:cNvGrpSpPr/>
          <p:nvPr/>
        </p:nvGrpSpPr>
        <p:grpSpPr>
          <a:xfrm>
            <a:off x="1508660" y="3122347"/>
            <a:ext cx="1145989" cy="1092773"/>
            <a:chOff x="1508660" y="3122347"/>
            <a:chExt cx="1145989" cy="1092773"/>
          </a:xfrm>
        </p:grpSpPr>
        <p:sp>
          <p:nvSpPr>
            <p:cNvPr id="17" name="Rounded Rectangle 5"/>
            <p:cNvSpPr>
              <a:spLocks noChangeArrowheads="1"/>
            </p:cNvSpPr>
            <p:nvPr/>
          </p:nvSpPr>
          <p:spPr bwMode="auto">
            <a:xfrm>
              <a:off x="1508660" y="3122347"/>
              <a:ext cx="1145989" cy="1092773"/>
            </a:xfrm>
            <a:prstGeom prst="roundRect">
              <a:avLst>
                <a:gd name="adj" fmla="val 6102"/>
              </a:avLst>
            </a:prstGeom>
            <a:solidFill>
              <a:srgbClr val="2A9B18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26" name="Rektangel 63"/>
            <p:cNvSpPr>
              <a:spLocks noChangeArrowheads="1"/>
            </p:cNvSpPr>
            <p:nvPr/>
          </p:nvSpPr>
          <p:spPr bwMode="auto">
            <a:xfrm>
              <a:off x="1559400" y="3351723"/>
              <a:ext cx="1013569" cy="6340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/>
            <a:p>
              <a:pPr defTabSz="801688">
                <a:spcBef>
                  <a:spcPct val="20000"/>
                </a:spcBef>
              </a:pPr>
              <a:r>
                <a:rPr lang="en-US" sz="1100" b="1" noProof="1">
                  <a:solidFill>
                    <a:schemeClr val="bg1"/>
                  </a:solidFill>
                  <a:latin typeface="Calibri" charset="0"/>
                  <a:cs typeface="Arial" charset="0"/>
                </a:rPr>
                <a:t>Example text</a:t>
              </a:r>
            </a:p>
            <a:p>
              <a:pPr defTabSz="801688">
                <a:spcBef>
                  <a:spcPct val="20000"/>
                </a:spcBef>
              </a:pPr>
              <a:r>
                <a:rPr lang="en-US" sz="1100" noProof="1">
                  <a:solidFill>
                    <a:schemeClr val="bg1"/>
                  </a:solidFill>
                  <a:latin typeface="Calibri" charset="0"/>
                  <a:cs typeface="Arial" charset="0"/>
                </a:rPr>
                <a:t>This is an example text. </a:t>
              </a:r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2943002" y="3122347"/>
            <a:ext cx="1145989" cy="1092773"/>
            <a:chOff x="2943002" y="3122347"/>
            <a:chExt cx="1145989" cy="1092773"/>
          </a:xfrm>
        </p:grpSpPr>
        <p:sp>
          <p:nvSpPr>
            <p:cNvPr id="18" name="Rounded Rectangle 17"/>
            <p:cNvSpPr/>
            <p:nvPr/>
          </p:nvSpPr>
          <p:spPr bwMode="auto">
            <a:xfrm>
              <a:off x="2943002" y="3122347"/>
              <a:ext cx="1145989" cy="1092773"/>
            </a:xfrm>
            <a:prstGeom prst="roundRect">
              <a:avLst>
                <a:gd name="adj" fmla="val 6103"/>
              </a:avLst>
            </a:prstGeom>
            <a:solidFill>
              <a:srgbClr val="BFBFBF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8" name="Rektangel 63"/>
            <p:cNvSpPr>
              <a:spLocks noChangeArrowheads="1"/>
            </p:cNvSpPr>
            <p:nvPr/>
          </p:nvSpPr>
          <p:spPr bwMode="auto">
            <a:xfrm>
              <a:off x="2990030" y="3351723"/>
              <a:ext cx="1013569" cy="6340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/>
            <a:p>
              <a:pPr defTabSz="801688">
                <a:spcBef>
                  <a:spcPct val="20000"/>
                </a:spcBef>
              </a:pPr>
              <a:r>
                <a:rPr lang="en-US" sz="1100" b="1" noProof="1">
                  <a:solidFill>
                    <a:srgbClr val="080808"/>
                  </a:solidFill>
                  <a:latin typeface="Calibri" charset="0"/>
                  <a:cs typeface="Arial" charset="0"/>
                </a:rPr>
                <a:t>Example text</a:t>
              </a:r>
            </a:p>
            <a:p>
              <a:pPr defTabSz="801688">
                <a:spcBef>
                  <a:spcPct val="20000"/>
                </a:spcBef>
              </a:pPr>
              <a:r>
                <a:rPr lang="en-US" sz="1100" noProof="1">
                  <a:solidFill>
                    <a:srgbClr val="080808"/>
                  </a:solidFill>
                  <a:latin typeface="Calibri" charset="0"/>
                  <a:cs typeface="Arial" charset="0"/>
                </a:rPr>
                <a:t>This is an example text. </a:t>
              </a: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5879753" y="3122347"/>
            <a:ext cx="1145989" cy="1092773"/>
            <a:chOff x="5879753" y="3122347"/>
            <a:chExt cx="1145989" cy="1092773"/>
          </a:xfrm>
        </p:grpSpPr>
        <p:sp>
          <p:nvSpPr>
            <p:cNvPr id="23" name="Rounded Rectangle 22"/>
            <p:cNvSpPr/>
            <p:nvPr/>
          </p:nvSpPr>
          <p:spPr bwMode="auto">
            <a:xfrm>
              <a:off x="5879753" y="3122347"/>
              <a:ext cx="1145989" cy="1092773"/>
            </a:xfrm>
            <a:prstGeom prst="roundRect">
              <a:avLst>
                <a:gd name="adj" fmla="val 6103"/>
              </a:avLst>
            </a:prstGeom>
            <a:solidFill>
              <a:srgbClr val="0D65AC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3" name="Rektangel 63"/>
            <p:cNvSpPr>
              <a:spLocks noChangeArrowheads="1"/>
            </p:cNvSpPr>
            <p:nvPr/>
          </p:nvSpPr>
          <p:spPr bwMode="auto">
            <a:xfrm>
              <a:off x="5926781" y="3351723"/>
              <a:ext cx="1013569" cy="6340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/>
            <a:p>
              <a:pPr defTabSz="801688">
                <a:spcBef>
                  <a:spcPct val="20000"/>
                </a:spcBef>
              </a:pPr>
              <a:r>
                <a:rPr lang="en-US" sz="1100" b="1" noProof="1">
                  <a:solidFill>
                    <a:schemeClr val="bg1"/>
                  </a:solidFill>
                  <a:latin typeface="Calibri" charset="0"/>
                  <a:cs typeface="Arial" charset="0"/>
                </a:rPr>
                <a:t>Example text</a:t>
              </a:r>
            </a:p>
            <a:p>
              <a:pPr defTabSz="801688">
                <a:spcBef>
                  <a:spcPct val="20000"/>
                </a:spcBef>
              </a:pPr>
              <a:r>
                <a:rPr lang="en-US" sz="1100" noProof="1">
                  <a:solidFill>
                    <a:schemeClr val="bg1"/>
                  </a:solidFill>
                  <a:latin typeface="Calibri" charset="0"/>
                  <a:cs typeface="Arial" charset="0"/>
                </a:rPr>
                <a:t>This is an example text. </a:t>
              </a:r>
            </a:p>
          </p:txBody>
        </p:sp>
      </p:grpSp>
      <p:sp>
        <p:nvSpPr>
          <p:cNvPr id="20" name="Rounded Rectangle 19"/>
          <p:cNvSpPr/>
          <p:nvPr/>
        </p:nvSpPr>
        <p:spPr bwMode="auto">
          <a:xfrm>
            <a:off x="2943002" y="4662598"/>
            <a:ext cx="1145989" cy="1091535"/>
          </a:xfrm>
          <a:prstGeom prst="roundRect">
            <a:avLst>
              <a:gd name="adj" fmla="val 6103"/>
            </a:avLst>
          </a:prstGeom>
          <a:solidFill>
            <a:srgbClr val="F0B71F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9" name="Rektangel 63"/>
          <p:cNvSpPr>
            <a:spLocks noChangeArrowheads="1"/>
          </p:cNvSpPr>
          <p:nvPr/>
        </p:nvSpPr>
        <p:spPr bwMode="auto">
          <a:xfrm>
            <a:off x="2990030" y="4891355"/>
            <a:ext cx="1013569" cy="634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en-US" sz="1100" b="1" noProof="1">
                <a:solidFill>
                  <a:srgbClr val="080808"/>
                </a:solidFill>
                <a:latin typeface="Calibri" charset="0"/>
                <a:cs typeface="Arial" charset="0"/>
              </a:rPr>
              <a:t>Example text</a:t>
            </a:r>
          </a:p>
          <a:p>
            <a:pPr defTabSz="801688">
              <a:spcBef>
                <a:spcPct val="20000"/>
              </a:spcBef>
            </a:pPr>
            <a:r>
              <a:rPr lang="en-US" sz="1100" noProof="1">
                <a:solidFill>
                  <a:srgbClr val="080808"/>
                </a:solidFill>
                <a:latin typeface="Calibri" charset="0"/>
                <a:cs typeface="Arial" charset="0"/>
              </a:rPr>
              <a:t>This is an example text. </a:t>
            </a:r>
          </a:p>
        </p:txBody>
      </p:sp>
      <p:grpSp>
        <p:nvGrpSpPr>
          <p:cNvPr id="48" name="Group 47"/>
          <p:cNvGrpSpPr/>
          <p:nvPr/>
        </p:nvGrpSpPr>
        <p:grpSpPr>
          <a:xfrm>
            <a:off x="5879753" y="4662598"/>
            <a:ext cx="1145989" cy="1091535"/>
            <a:chOff x="5879753" y="4662598"/>
            <a:chExt cx="1145989" cy="1091535"/>
          </a:xfrm>
        </p:grpSpPr>
        <p:sp>
          <p:nvSpPr>
            <p:cNvPr id="25" name="Rounded Rectangle 24"/>
            <p:cNvSpPr/>
            <p:nvPr/>
          </p:nvSpPr>
          <p:spPr bwMode="auto">
            <a:xfrm>
              <a:off x="5879753" y="4662598"/>
              <a:ext cx="1145989" cy="1091535"/>
            </a:xfrm>
            <a:prstGeom prst="roundRect">
              <a:avLst>
                <a:gd name="adj" fmla="val 6103"/>
              </a:avLst>
            </a:prstGeom>
            <a:solidFill>
              <a:srgbClr val="D5D5D5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4" name="Rektangel 63"/>
            <p:cNvSpPr>
              <a:spLocks noChangeArrowheads="1"/>
            </p:cNvSpPr>
            <p:nvPr/>
          </p:nvSpPr>
          <p:spPr bwMode="auto">
            <a:xfrm>
              <a:off x="5926781" y="4891355"/>
              <a:ext cx="1013569" cy="6340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/>
            <a:p>
              <a:pPr defTabSz="801688">
                <a:spcBef>
                  <a:spcPct val="20000"/>
                </a:spcBef>
              </a:pPr>
              <a:r>
                <a:rPr lang="en-US" sz="1100" b="1" noProof="1">
                  <a:solidFill>
                    <a:srgbClr val="080808"/>
                  </a:solidFill>
                  <a:latin typeface="Calibri" charset="0"/>
                  <a:cs typeface="Arial" charset="0"/>
                </a:rPr>
                <a:t>Example text</a:t>
              </a:r>
            </a:p>
            <a:p>
              <a:pPr defTabSz="801688">
                <a:spcBef>
                  <a:spcPct val="20000"/>
                </a:spcBef>
              </a:pPr>
              <a:r>
                <a:rPr lang="en-US" sz="1100" noProof="1">
                  <a:solidFill>
                    <a:srgbClr val="080808"/>
                  </a:solidFill>
                  <a:latin typeface="Calibri" charset="0"/>
                  <a:cs typeface="Arial" charset="0"/>
                </a:rPr>
                <a:t>This is an example text. 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459297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Ellipse 44"/>
          <p:cNvSpPr/>
          <p:nvPr/>
        </p:nvSpPr>
        <p:spPr bwMode="auto">
          <a:xfrm>
            <a:off x="3516162" y="2609851"/>
            <a:ext cx="2111677" cy="2109885"/>
          </a:xfrm>
          <a:prstGeom prst="ellipse">
            <a:avLst/>
          </a:prstGeom>
          <a:solidFill>
            <a:srgbClr val="2A9B18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400" u="sng">
              <a:solidFill>
                <a:srgbClr val="FFFFFF"/>
              </a:solidFill>
              <a:latin typeface="Calibri" pitchFamily="-105" charset="0"/>
              <a:ea typeface="+mn-ea"/>
            </a:endParaRP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4378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Replace this text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13</a:t>
            </a:fld>
            <a:r>
              <a:rPr lang="en-US" dirty="0" smtClean="0"/>
              <a:t> I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404717"/>
            <a:ext cx="7886700" cy="461665"/>
          </a:xfrm>
        </p:spPr>
        <p:txBody>
          <a:bodyPr/>
          <a:lstStyle/>
          <a:p>
            <a:r>
              <a:rPr lang="en-US" dirty="0"/>
              <a:t>BUSINESS PLAN</a:t>
            </a:r>
            <a:endParaRPr lang="en-US" dirty="0">
              <a:latin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  <p:grpSp>
        <p:nvGrpSpPr>
          <p:cNvPr id="7" name="Group 16"/>
          <p:cNvGrpSpPr>
            <a:grpSpLocks/>
          </p:cNvGrpSpPr>
          <p:nvPr/>
        </p:nvGrpSpPr>
        <p:grpSpPr bwMode="auto">
          <a:xfrm flipH="1">
            <a:off x="6201841" y="2060576"/>
            <a:ext cx="549274" cy="3292475"/>
            <a:chOff x="2388428" y="1417622"/>
            <a:chExt cx="548975" cy="3291840"/>
          </a:xfrm>
        </p:grpSpPr>
        <p:sp>
          <p:nvSpPr>
            <p:cNvPr id="8" name="Line 33"/>
            <p:cNvSpPr>
              <a:spLocks noChangeShapeType="1"/>
            </p:cNvSpPr>
            <p:nvPr/>
          </p:nvSpPr>
          <p:spPr bwMode="auto">
            <a:xfrm rot="5400000">
              <a:off x="1287780" y="3063542"/>
              <a:ext cx="3291840" cy="0"/>
            </a:xfrm>
            <a:prstGeom prst="line">
              <a:avLst/>
            </a:prstGeom>
            <a:noFill/>
            <a:ln w="19050">
              <a:solidFill>
                <a:srgbClr val="7F7F7F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Arial" pitchFamily="34" charset="0"/>
                <a:ea typeface="ＭＳ Ｐゴシック" pitchFamily="-65" charset="-128"/>
                <a:cs typeface="ＭＳ Ｐゴシック" pitchFamily="-65" charset="-128"/>
              </a:endParaRPr>
            </a:p>
          </p:txBody>
        </p:sp>
        <p:sp>
          <p:nvSpPr>
            <p:cNvPr id="9" name="Line 33"/>
            <p:cNvSpPr>
              <a:spLocks noChangeShapeType="1"/>
            </p:cNvSpPr>
            <p:nvPr/>
          </p:nvSpPr>
          <p:spPr bwMode="auto">
            <a:xfrm>
              <a:off x="2388428" y="1427145"/>
              <a:ext cx="548975" cy="0"/>
            </a:xfrm>
            <a:prstGeom prst="line">
              <a:avLst/>
            </a:prstGeom>
            <a:noFill/>
            <a:ln w="19050">
              <a:solidFill>
                <a:srgbClr val="7F7F7F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Arial" pitchFamily="34" charset="0"/>
                <a:ea typeface="+mn-ea"/>
              </a:endParaRPr>
            </a:p>
          </p:txBody>
        </p:sp>
        <p:sp>
          <p:nvSpPr>
            <p:cNvPr id="11" name="Line 33"/>
            <p:cNvSpPr>
              <a:spLocks noChangeShapeType="1"/>
            </p:cNvSpPr>
            <p:nvPr/>
          </p:nvSpPr>
          <p:spPr bwMode="auto">
            <a:xfrm>
              <a:off x="2388428" y="4680893"/>
              <a:ext cx="548975" cy="0"/>
            </a:xfrm>
            <a:prstGeom prst="line">
              <a:avLst/>
            </a:prstGeom>
            <a:noFill/>
            <a:ln w="19050">
              <a:solidFill>
                <a:srgbClr val="7F7F7F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Arial" pitchFamily="34" charset="0"/>
                <a:ea typeface="+mn-ea"/>
              </a:endParaRPr>
            </a:p>
          </p:txBody>
        </p:sp>
        <p:sp>
          <p:nvSpPr>
            <p:cNvPr id="12" name="Line 33"/>
            <p:cNvSpPr>
              <a:spLocks noChangeShapeType="1"/>
            </p:cNvSpPr>
            <p:nvPr/>
          </p:nvSpPr>
          <p:spPr bwMode="auto">
            <a:xfrm>
              <a:off x="2388428" y="3000054"/>
              <a:ext cx="548975" cy="0"/>
            </a:xfrm>
            <a:prstGeom prst="line">
              <a:avLst/>
            </a:prstGeom>
            <a:noFill/>
            <a:ln w="19050">
              <a:solidFill>
                <a:srgbClr val="7F7F7F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Arial" pitchFamily="34" charset="0"/>
                <a:ea typeface="+mn-ea"/>
              </a:endParaRPr>
            </a:p>
          </p:txBody>
        </p:sp>
      </p:grpSp>
      <p:grpSp>
        <p:nvGrpSpPr>
          <p:cNvPr id="13" name="Group 15"/>
          <p:cNvGrpSpPr>
            <a:grpSpLocks/>
          </p:cNvGrpSpPr>
          <p:nvPr/>
        </p:nvGrpSpPr>
        <p:grpSpPr bwMode="auto">
          <a:xfrm>
            <a:off x="2354263" y="2060576"/>
            <a:ext cx="3867150" cy="3292475"/>
            <a:chOff x="2354580" y="1417622"/>
            <a:chExt cx="3866186" cy="3291840"/>
          </a:xfrm>
        </p:grpSpPr>
        <p:sp>
          <p:nvSpPr>
            <p:cNvPr id="14" name="Line 33"/>
            <p:cNvSpPr>
              <a:spLocks noChangeShapeType="1"/>
            </p:cNvSpPr>
            <p:nvPr/>
          </p:nvSpPr>
          <p:spPr bwMode="auto">
            <a:xfrm rot="5400000">
              <a:off x="1287952" y="3063542"/>
              <a:ext cx="3291840" cy="0"/>
            </a:xfrm>
            <a:prstGeom prst="line">
              <a:avLst/>
            </a:prstGeom>
            <a:noFill/>
            <a:ln w="19050">
              <a:solidFill>
                <a:srgbClr val="7F7F7F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Arial" pitchFamily="34" charset="0"/>
                <a:ea typeface="ＭＳ Ｐゴシック" pitchFamily="-65" charset="-128"/>
                <a:cs typeface="ＭＳ Ｐゴシック" pitchFamily="-65" charset="-128"/>
              </a:endParaRPr>
            </a:p>
          </p:txBody>
        </p:sp>
        <p:sp>
          <p:nvSpPr>
            <p:cNvPr id="15" name="Line 33"/>
            <p:cNvSpPr>
              <a:spLocks noChangeShapeType="1"/>
            </p:cNvSpPr>
            <p:nvPr/>
          </p:nvSpPr>
          <p:spPr bwMode="auto">
            <a:xfrm>
              <a:off x="2354580" y="1427145"/>
              <a:ext cx="549138" cy="0"/>
            </a:xfrm>
            <a:prstGeom prst="line">
              <a:avLst/>
            </a:prstGeom>
            <a:noFill/>
            <a:ln w="19050">
              <a:solidFill>
                <a:srgbClr val="7F7F7F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Arial" pitchFamily="34" charset="0"/>
                <a:ea typeface="+mn-ea"/>
              </a:endParaRPr>
            </a:p>
          </p:txBody>
        </p:sp>
        <p:sp>
          <p:nvSpPr>
            <p:cNvPr id="16" name="Line 33"/>
            <p:cNvSpPr>
              <a:spLocks noChangeShapeType="1"/>
            </p:cNvSpPr>
            <p:nvPr/>
          </p:nvSpPr>
          <p:spPr bwMode="auto">
            <a:xfrm>
              <a:off x="2354580" y="4680893"/>
              <a:ext cx="549138" cy="0"/>
            </a:xfrm>
            <a:prstGeom prst="line">
              <a:avLst/>
            </a:prstGeom>
            <a:noFill/>
            <a:ln w="19050">
              <a:solidFill>
                <a:srgbClr val="7F7F7F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Arial" pitchFamily="34" charset="0"/>
                <a:ea typeface="+mn-ea"/>
              </a:endParaRPr>
            </a:p>
          </p:txBody>
        </p:sp>
        <p:sp>
          <p:nvSpPr>
            <p:cNvPr id="17" name="Line 33"/>
            <p:cNvSpPr>
              <a:spLocks noChangeShapeType="1"/>
            </p:cNvSpPr>
            <p:nvPr/>
          </p:nvSpPr>
          <p:spPr bwMode="auto">
            <a:xfrm>
              <a:off x="2354580" y="3000054"/>
              <a:ext cx="549138" cy="0"/>
            </a:xfrm>
            <a:prstGeom prst="line">
              <a:avLst/>
            </a:prstGeom>
            <a:noFill/>
            <a:ln w="19050">
              <a:solidFill>
                <a:srgbClr val="7F7F7F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Arial" pitchFamily="34" charset="0"/>
                <a:ea typeface="+mn-ea"/>
              </a:endParaRPr>
            </a:p>
          </p:txBody>
        </p:sp>
        <p:sp>
          <p:nvSpPr>
            <p:cNvPr id="18" name="Line 33"/>
            <p:cNvSpPr>
              <a:spLocks noChangeShapeType="1"/>
            </p:cNvSpPr>
            <p:nvPr/>
          </p:nvSpPr>
          <p:spPr bwMode="auto">
            <a:xfrm>
              <a:off x="2929112" y="3000054"/>
              <a:ext cx="3291654" cy="0"/>
            </a:xfrm>
            <a:prstGeom prst="line">
              <a:avLst/>
            </a:prstGeom>
            <a:noFill/>
            <a:ln w="19050">
              <a:solidFill>
                <a:srgbClr val="7F7F7F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Arial" pitchFamily="34" charset="0"/>
                <a:ea typeface="+mn-ea"/>
              </a:endParaRPr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6768041" y="1490663"/>
            <a:ext cx="1954213" cy="1119188"/>
            <a:chOff x="6768041" y="1490663"/>
            <a:chExt cx="1954213" cy="1119188"/>
          </a:xfrm>
        </p:grpSpPr>
        <p:sp>
          <p:nvSpPr>
            <p:cNvPr id="20" name="Rectangle 19"/>
            <p:cNvSpPr>
              <a:spLocks noChangeArrowheads="1"/>
            </p:cNvSpPr>
            <p:nvPr/>
          </p:nvSpPr>
          <p:spPr bwMode="auto">
            <a:xfrm>
              <a:off x="6768041" y="1490663"/>
              <a:ext cx="1954213" cy="1119188"/>
            </a:xfrm>
            <a:prstGeom prst="rect">
              <a:avLst/>
            </a:prstGeom>
            <a:solidFill>
              <a:srgbClr val="D5D5D5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26" name="TextBox 29"/>
            <p:cNvSpPr txBox="1">
              <a:spLocks noChangeArrowheads="1"/>
            </p:cNvSpPr>
            <p:nvPr/>
          </p:nvSpPr>
          <p:spPr bwMode="auto">
            <a:xfrm>
              <a:off x="6858529" y="1623987"/>
              <a:ext cx="1693862" cy="8525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20000"/>
                </a:spcBef>
              </a:pPr>
              <a:r>
                <a:rPr lang="en-US" sz="1200" noProof="1" smtClean="0">
                  <a:solidFill>
                    <a:srgbClr val="000000"/>
                  </a:solidFill>
                  <a:latin typeface="Calibri" charset="0"/>
                  <a:cs typeface="Arial" charset="0"/>
                </a:rPr>
                <a:t>Expense</a:t>
              </a:r>
              <a:endParaRPr lang="en-US" sz="1200" noProof="1">
                <a:solidFill>
                  <a:srgbClr val="000000"/>
                </a:solidFill>
                <a:latin typeface="Calibri" charset="0"/>
                <a:cs typeface="Arial" charset="0"/>
              </a:endParaRPr>
            </a:p>
            <a:p>
              <a:pPr marL="171450" indent="-171450" eaLnBrk="1" hangingPunct="1">
                <a:spcBef>
                  <a:spcPct val="20000"/>
                </a:spcBef>
                <a:buFont typeface="Arial" pitchFamily="34" charset="0"/>
                <a:buChar char="•"/>
              </a:pPr>
              <a:r>
                <a:rPr lang="en-US" sz="1100" noProof="1">
                  <a:solidFill>
                    <a:srgbClr val="000000"/>
                  </a:solidFill>
                  <a:latin typeface="Calibri" charset="0"/>
                  <a:cs typeface="Arial" charset="0"/>
                </a:rPr>
                <a:t>This is an example text. </a:t>
              </a:r>
            </a:p>
            <a:p>
              <a:pPr marL="171450" indent="-171450" eaLnBrk="1" hangingPunct="1">
                <a:spcBef>
                  <a:spcPct val="20000"/>
                </a:spcBef>
                <a:buFont typeface="Arial" pitchFamily="34" charset="0"/>
                <a:buChar char="•"/>
              </a:pPr>
              <a:r>
                <a:rPr lang="en-US" sz="1100" noProof="1">
                  <a:solidFill>
                    <a:srgbClr val="000000"/>
                  </a:solidFill>
                  <a:latin typeface="Calibri" charset="0"/>
                  <a:cs typeface="Arial" charset="0"/>
                </a:rPr>
                <a:t> Go ahead and replace it with your own text.</a:t>
              </a:r>
              <a:endParaRPr lang="en-US" sz="1600" dirty="0">
                <a:solidFill>
                  <a:srgbClr val="000000"/>
                </a:solidFill>
                <a:latin typeface="Calibri" charset="0"/>
              </a:endParaRP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6768041" y="3119438"/>
            <a:ext cx="1954213" cy="1119188"/>
            <a:chOff x="6768041" y="3119438"/>
            <a:chExt cx="1954213" cy="1119188"/>
          </a:xfrm>
        </p:grpSpPr>
        <p:sp>
          <p:nvSpPr>
            <p:cNvPr id="21" name="Rectangle 20"/>
            <p:cNvSpPr>
              <a:spLocks noChangeArrowheads="1"/>
            </p:cNvSpPr>
            <p:nvPr/>
          </p:nvSpPr>
          <p:spPr bwMode="auto">
            <a:xfrm>
              <a:off x="6768041" y="3119438"/>
              <a:ext cx="1954213" cy="1119188"/>
            </a:xfrm>
            <a:prstGeom prst="rect">
              <a:avLst/>
            </a:prstGeom>
            <a:solidFill>
              <a:srgbClr val="D5D5D5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27" name="TextBox 29"/>
            <p:cNvSpPr txBox="1">
              <a:spLocks noChangeArrowheads="1"/>
            </p:cNvSpPr>
            <p:nvPr/>
          </p:nvSpPr>
          <p:spPr bwMode="auto">
            <a:xfrm>
              <a:off x="6858529" y="3252762"/>
              <a:ext cx="1693862" cy="8525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20000"/>
                </a:spcBef>
              </a:pPr>
              <a:r>
                <a:rPr lang="en-US" sz="1200" noProof="1">
                  <a:solidFill>
                    <a:srgbClr val="000000"/>
                  </a:solidFill>
                  <a:latin typeface="Calibri" charset="0"/>
                  <a:cs typeface="Arial" charset="0"/>
                </a:rPr>
                <a:t>Expense</a:t>
              </a:r>
            </a:p>
            <a:p>
              <a:pPr marL="171450" indent="-171450" eaLnBrk="1" hangingPunct="1">
                <a:spcBef>
                  <a:spcPct val="20000"/>
                </a:spcBef>
                <a:buFont typeface="Arial" pitchFamily="34" charset="0"/>
                <a:buChar char="•"/>
              </a:pPr>
              <a:r>
                <a:rPr lang="en-US" sz="1100" noProof="1" smtClean="0">
                  <a:solidFill>
                    <a:srgbClr val="000000"/>
                  </a:solidFill>
                  <a:latin typeface="Calibri" charset="0"/>
                  <a:cs typeface="Arial" charset="0"/>
                </a:rPr>
                <a:t>This </a:t>
              </a:r>
              <a:r>
                <a:rPr lang="en-US" sz="1100" noProof="1">
                  <a:solidFill>
                    <a:srgbClr val="000000"/>
                  </a:solidFill>
                  <a:latin typeface="Calibri" charset="0"/>
                  <a:cs typeface="Arial" charset="0"/>
                </a:rPr>
                <a:t>is an example text. </a:t>
              </a:r>
            </a:p>
            <a:p>
              <a:pPr marL="171450" indent="-171450" eaLnBrk="1" hangingPunct="1">
                <a:spcBef>
                  <a:spcPct val="20000"/>
                </a:spcBef>
                <a:buFont typeface="Arial" pitchFamily="34" charset="0"/>
                <a:buChar char="•"/>
              </a:pPr>
              <a:r>
                <a:rPr lang="en-US" sz="1100" noProof="1">
                  <a:solidFill>
                    <a:srgbClr val="000000"/>
                  </a:solidFill>
                  <a:latin typeface="Calibri" charset="0"/>
                  <a:cs typeface="Arial" charset="0"/>
                </a:rPr>
                <a:t> Go ahead and replace it with your own text.</a:t>
              </a:r>
              <a:endParaRPr lang="en-US" sz="1600" dirty="0">
                <a:solidFill>
                  <a:srgbClr val="000000"/>
                </a:solidFill>
                <a:latin typeface="Calibri" charset="0"/>
              </a:endParaRP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6768041" y="4683126"/>
            <a:ext cx="1954213" cy="1119187"/>
            <a:chOff x="6768041" y="4683126"/>
            <a:chExt cx="1954213" cy="1119187"/>
          </a:xfrm>
        </p:grpSpPr>
        <p:sp>
          <p:nvSpPr>
            <p:cNvPr id="22" name="Rectangle 21"/>
            <p:cNvSpPr>
              <a:spLocks noChangeArrowheads="1"/>
            </p:cNvSpPr>
            <p:nvPr/>
          </p:nvSpPr>
          <p:spPr bwMode="auto">
            <a:xfrm>
              <a:off x="6768041" y="4683126"/>
              <a:ext cx="1954213" cy="1119187"/>
            </a:xfrm>
            <a:prstGeom prst="rect">
              <a:avLst/>
            </a:prstGeom>
            <a:solidFill>
              <a:srgbClr val="D5D5D5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28" name="TextBox 29"/>
            <p:cNvSpPr txBox="1">
              <a:spLocks noChangeArrowheads="1"/>
            </p:cNvSpPr>
            <p:nvPr/>
          </p:nvSpPr>
          <p:spPr bwMode="auto">
            <a:xfrm>
              <a:off x="6858529" y="4816449"/>
              <a:ext cx="1693862" cy="8525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20000"/>
                </a:spcBef>
              </a:pPr>
              <a:r>
                <a:rPr lang="en-US" sz="1200" noProof="1">
                  <a:solidFill>
                    <a:srgbClr val="000000"/>
                  </a:solidFill>
                  <a:latin typeface="Calibri" charset="0"/>
                  <a:cs typeface="Arial" charset="0"/>
                </a:rPr>
                <a:t>Expense</a:t>
              </a:r>
            </a:p>
            <a:p>
              <a:pPr marL="171450" indent="-171450" eaLnBrk="1" hangingPunct="1">
                <a:spcBef>
                  <a:spcPct val="20000"/>
                </a:spcBef>
                <a:buFont typeface="Arial" pitchFamily="34" charset="0"/>
                <a:buChar char="•"/>
              </a:pPr>
              <a:r>
                <a:rPr lang="en-US" sz="1100" noProof="1" smtClean="0">
                  <a:solidFill>
                    <a:srgbClr val="000000"/>
                  </a:solidFill>
                  <a:latin typeface="Calibri" charset="0"/>
                  <a:cs typeface="Arial" charset="0"/>
                </a:rPr>
                <a:t>This </a:t>
              </a:r>
              <a:r>
                <a:rPr lang="en-US" sz="1100" noProof="1">
                  <a:solidFill>
                    <a:srgbClr val="000000"/>
                  </a:solidFill>
                  <a:latin typeface="Calibri" charset="0"/>
                  <a:cs typeface="Arial" charset="0"/>
                </a:rPr>
                <a:t>is an example text. </a:t>
              </a:r>
            </a:p>
            <a:p>
              <a:pPr marL="171450" indent="-171450" eaLnBrk="1" hangingPunct="1">
                <a:spcBef>
                  <a:spcPct val="20000"/>
                </a:spcBef>
                <a:buFont typeface="Arial" pitchFamily="34" charset="0"/>
                <a:buChar char="•"/>
              </a:pPr>
              <a:r>
                <a:rPr lang="en-US" sz="1100" noProof="1">
                  <a:solidFill>
                    <a:srgbClr val="000000"/>
                  </a:solidFill>
                  <a:latin typeface="Calibri" charset="0"/>
                  <a:cs typeface="Arial" charset="0"/>
                </a:rPr>
                <a:t> Go ahead and replace it with your own text.</a:t>
              </a:r>
              <a:endParaRPr lang="en-US" sz="1600" dirty="0">
                <a:solidFill>
                  <a:srgbClr val="000000"/>
                </a:solidFill>
                <a:latin typeface="Calibri" charset="0"/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400050" y="1490663"/>
            <a:ext cx="1954213" cy="1119188"/>
            <a:chOff x="400050" y="1490663"/>
            <a:chExt cx="1954213" cy="1119188"/>
          </a:xfrm>
        </p:grpSpPr>
        <p:sp>
          <p:nvSpPr>
            <p:cNvPr id="23" name="Rectangle 22"/>
            <p:cNvSpPr>
              <a:spLocks noChangeArrowheads="1"/>
            </p:cNvSpPr>
            <p:nvPr/>
          </p:nvSpPr>
          <p:spPr bwMode="auto">
            <a:xfrm>
              <a:off x="400050" y="1490663"/>
              <a:ext cx="1954213" cy="1119188"/>
            </a:xfrm>
            <a:prstGeom prst="rect">
              <a:avLst/>
            </a:prstGeom>
            <a:solidFill>
              <a:srgbClr val="0D65AC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29" name="TextBox 31"/>
            <p:cNvSpPr txBox="1">
              <a:spLocks noChangeArrowheads="1"/>
            </p:cNvSpPr>
            <p:nvPr/>
          </p:nvSpPr>
          <p:spPr bwMode="auto">
            <a:xfrm>
              <a:off x="514350" y="1623987"/>
              <a:ext cx="1693863" cy="8525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20000"/>
                </a:spcBef>
              </a:pPr>
              <a:r>
                <a:rPr lang="en-US" sz="1200" noProof="1">
                  <a:solidFill>
                    <a:schemeClr val="bg1"/>
                  </a:solidFill>
                  <a:latin typeface="Calibri" charset="0"/>
                  <a:cs typeface="Arial" charset="0"/>
                </a:rPr>
                <a:t>Income</a:t>
              </a:r>
            </a:p>
            <a:p>
              <a:pPr marL="171450" indent="-171450" eaLnBrk="1" hangingPunct="1">
                <a:spcBef>
                  <a:spcPct val="20000"/>
                </a:spcBef>
                <a:buFont typeface="Arial" pitchFamily="34" charset="0"/>
                <a:buChar char="•"/>
              </a:pPr>
              <a:r>
                <a:rPr lang="en-US" sz="1100" noProof="1">
                  <a:solidFill>
                    <a:schemeClr val="bg1"/>
                  </a:solidFill>
                  <a:latin typeface="Calibri" charset="0"/>
                  <a:cs typeface="Arial" charset="0"/>
                </a:rPr>
                <a:t>This is an example text. </a:t>
              </a:r>
            </a:p>
            <a:p>
              <a:pPr marL="171450" indent="-171450" eaLnBrk="1" hangingPunct="1">
                <a:spcBef>
                  <a:spcPct val="20000"/>
                </a:spcBef>
                <a:buFont typeface="Arial" pitchFamily="34" charset="0"/>
                <a:buChar char="•"/>
              </a:pPr>
              <a:r>
                <a:rPr lang="en-US" sz="1100" noProof="1">
                  <a:solidFill>
                    <a:schemeClr val="bg1"/>
                  </a:solidFill>
                  <a:latin typeface="Calibri" charset="0"/>
                  <a:cs typeface="Arial" charset="0"/>
                </a:rPr>
                <a:t> Go ahead and replace it with your own text.</a:t>
              </a:r>
              <a:endParaRPr lang="en-US" sz="1600" dirty="0">
                <a:solidFill>
                  <a:schemeClr val="bg1"/>
                </a:solidFill>
                <a:latin typeface="Calibri" charset="0"/>
              </a:endParaRP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400050" y="3119438"/>
            <a:ext cx="1954213" cy="1119188"/>
            <a:chOff x="400050" y="3119438"/>
            <a:chExt cx="1954213" cy="1119188"/>
          </a:xfrm>
        </p:grpSpPr>
        <p:sp>
          <p:nvSpPr>
            <p:cNvPr id="24" name="Rectangle 23"/>
            <p:cNvSpPr>
              <a:spLocks noChangeArrowheads="1"/>
            </p:cNvSpPr>
            <p:nvPr/>
          </p:nvSpPr>
          <p:spPr bwMode="auto">
            <a:xfrm>
              <a:off x="400050" y="3119438"/>
              <a:ext cx="1954213" cy="1119188"/>
            </a:xfrm>
            <a:prstGeom prst="rect">
              <a:avLst/>
            </a:prstGeom>
            <a:solidFill>
              <a:srgbClr val="0D65AC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0" name="TextBox 31"/>
            <p:cNvSpPr txBox="1">
              <a:spLocks noChangeArrowheads="1"/>
            </p:cNvSpPr>
            <p:nvPr/>
          </p:nvSpPr>
          <p:spPr bwMode="auto">
            <a:xfrm>
              <a:off x="514350" y="3252762"/>
              <a:ext cx="1693863" cy="8525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20000"/>
                </a:spcBef>
              </a:pPr>
              <a:r>
                <a:rPr lang="en-US" sz="1200" noProof="1">
                  <a:solidFill>
                    <a:schemeClr val="bg1"/>
                  </a:solidFill>
                  <a:latin typeface="Calibri" charset="0"/>
                  <a:cs typeface="Arial" charset="0"/>
                </a:rPr>
                <a:t>Income</a:t>
              </a:r>
            </a:p>
            <a:p>
              <a:pPr marL="171450" indent="-171450" eaLnBrk="1" hangingPunct="1">
                <a:spcBef>
                  <a:spcPct val="20000"/>
                </a:spcBef>
                <a:buFont typeface="Arial" pitchFamily="34" charset="0"/>
                <a:buChar char="•"/>
              </a:pPr>
              <a:r>
                <a:rPr lang="en-US" sz="1100" noProof="1">
                  <a:solidFill>
                    <a:schemeClr val="bg1"/>
                  </a:solidFill>
                  <a:latin typeface="Calibri" charset="0"/>
                  <a:cs typeface="Arial" charset="0"/>
                </a:rPr>
                <a:t>This is an example text. </a:t>
              </a:r>
            </a:p>
            <a:p>
              <a:pPr marL="171450" indent="-171450" eaLnBrk="1" hangingPunct="1">
                <a:spcBef>
                  <a:spcPct val="20000"/>
                </a:spcBef>
                <a:buFont typeface="Arial" pitchFamily="34" charset="0"/>
                <a:buChar char="•"/>
              </a:pPr>
              <a:r>
                <a:rPr lang="en-US" sz="1100" noProof="1">
                  <a:solidFill>
                    <a:schemeClr val="bg1"/>
                  </a:solidFill>
                  <a:latin typeface="Calibri" charset="0"/>
                  <a:cs typeface="Arial" charset="0"/>
                </a:rPr>
                <a:t> Go ahead and replace it with your own text.</a:t>
              </a:r>
              <a:endParaRPr lang="en-US" sz="1600" dirty="0">
                <a:solidFill>
                  <a:schemeClr val="bg1"/>
                </a:solidFill>
                <a:latin typeface="Calibri" charset="0"/>
              </a:endParaRP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400050" y="4683126"/>
            <a:ext cx="1954213" cy="1119187"/>
            <a:chOff x="400050" y="4683126"/>
            <a:chExt cx="1954213" cy="1119187"/>
          </a:xfrm>
        </p:grpSpPr>
        <p:sp>
          <p:nvSpPr>
            <p:cNvPr id="25" name="Rectangle 24"/>
            <p:cNvSpPr>
              <a:spLocks noChangeArrowheads="1"/>
            </p:cNvSpPr>
            <p:nvPr/>
          </p:nvSpPr>
          <p:spPr bwMode="auto">
            <a:xfrm>
              <a:off x="400050" y="4683126"/>
              <a:ext cx="1954213" cy="1119187"/>
            </a:xfrm>
            <a:prstGeom prst="rect">
              <a:avLst/>
            </a:prstGeom>
            <a:solidFill>
              <a:srgbClr val="0D65AC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1" name="TextBox 31"/>
            <p:cNvSpPr txBox="1">
              <a:spLocks noChangeArrowheads="1"/>
            </p:cNvSpPr>
            <p:nvPr/>
          </p:nvSpPr>
          <p:spPr bwMode="auto">
            <a:xfrm>
              <a:off x="514350" y="4816449"/>
              <a:ext cx="1693863" cy="8525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20000"/>
                </a:spcBef>
              </a:pPr>
              <a:r>
                <a:rPr lang="en-US" sz="1200" noProof="1">
                  <a:solidFill>
                    <a:schemeClr val="bg1"/>
                  </a:solidFill>
                  <a:latin typeface="Calibri" charset="0"/>
                  <a:cs typeface="Arial" charset="0"/>
                </a:rPr>
                <a:t>Income</a:t>
              </a:r>
            </a:p>
            <a:p>
              <a:pPr marL="171450" indent="-171450" eaLnBrk="1" hangingPunct="1">
                <a:spcBef>
                  <a:spcPct val="20000"/>
                </a:spcBef>
                <a:buFont typeface="Arial" pitchFamily="34" charset="0"/>
                <a:buChar char="•"/>
              </a:pPr>
              <a:r>
                <a:rPr lang="en-US" sz="1100" noProof="1">
                  <a:solidFill>
                    <a:schemeClr val="bg1"/>
                  </a:solidFill>
                  <a:latin typeface="Calibri" charset="0"/>
                  <a:cs typeface="Arial" charset="0"/>
                </a:rPr>
                <a:t>This is an example text. </a:t>
              </a:r>
            </a:p>
            <a:p>
              <a:pPr marL="171450" indent="-171450" eaLnBrk="1" hangingPunct="1">
                <a:spcBef>
                  <a:spcPct val="20000"/>
                </a:spcBef>
                <a:buFont typeface="Arial" pitchFamily="34" charset="0"/>
                <a:buChar char="•"/>
              </a:pPr>
              <a:r>
                <a:rPr lang="en-US" sz="1100" noProof="1">
                  <a:solidFill>
                    <a:schemeClr val="bg1"/>
                  </a:solidFill>
                  <a:latin typeface="Calibri" charset="0"/>
                  <a:cs typeface="Arial" charset="0"/>
                </a:rPr>
                <a:t> Go ahead and replace it with your own text.</a:t>
              </a:r>
              <a:endParaRPr lang="en-US" sz="1600" dirty="0">
                <a:solidFill>
                  <a:schemeClr val="bg1"/>
                </a:solidFill>
                <a:latin typeface="Calibri" charset="0"/>
              </a:endParaRPr>
            </a:p>
          </p:txBody>
        </p:sp>
      </p:grpSp>
      <p:sp>
        <p:nvSpPr>
          <p:cNvPr id="32" name="TextBox 29"/>
          <p:cNvSpPr txBox="1">
            <a:spLocks noChangeArrowheads="1"/>
          </p:cNvSpPr>
          <p:nvPr/>
        </p:nvSpPr>
        <p:spPr bwMode="auto">
          <a:xfrm>
            <a:off x="3551238" y="3181584"/>
            <a:ext cx="2044700" cy="9664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r>
              <a:rPr lang="en-US" sz="1600" b="1" noProof="1">
                <a:solidFill>
                  <a:schemeClr val="bg1"/>
                </a:solidFill>
                <a:latin typeface="Calibri" charset="0"/>
                <a:cs typeface="Arial" charset="0"/>
              </a:rPr>
              <a:t>Budget</a:t>
            </a:r>
          </a:p>
          <a:p>
            <a:pPr marL="174625" indent="-174625" eaLnBrk="1" hangingPunct="1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1200" noProof="1" smtClean="0">
                <a:solidFill>
                  <a:schemeClr val="bg1"/>
                </a:solidFill>
                <a:latin typeface="Calibri" charset="0"/>
                <a:cs typeface="Arial" charset="0"/>
              </a:rPr>
              <a:t>This </a:t>
            </a:r>
            <a:r>
              <a:rPr lang="en-US" sz="1200" noProof="1">
                <a:solidFill>
                  <a:schemeClr val="bg1"/>
                </a:solidFill>
                <a:latin typeface="Calibri" charset="0"/>
                <a:cs typeface="Arial" charset="0"/>
              </a:rPr>
              <a:t>is an example text. </a:t>
            </a:r>
          </a:p>
          <a:p>
            <a:pPr marL="174625" indent="-174625" eaLnBrk="1" hangingPunct="1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1200" noProof="1">
                <a:solidFill>
                  <a:schemeClr val="bg1"/>
                </a:solidFill>
                <a:latin typeface="Calibri" charset="0"/>
                <a:cs typeface="Arial" charset="0"/>
              </a:rPr>
              <a:t> Go ahead and replace it with your own text.</a:t>
            </a:r>
            <a:endParaRPr lang="en-US" sz="1200" dirty="0">
              <a:solidFill>
                <a:schemeClr val="bg1"/>
              </a:solidFill>
              <a:latin typeface="Calibri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2100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4378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Replace this text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2</a:t>
            </a:fld>
            <a:r>
              <a:rPr lang="en-US" dirty="0" smtClean="0"/>
              <a:t> I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404717"/>
            <a:ext cx="7886700" cy="461665"/>
          </a:xfrm>
        </p:spPr>
        <p:txBody>
          <a:bodyPr/>
          <a:lstStyle/>
          <a:p>
            <a:r>
              <a:rPr lang="en-US" dirty="0" smtClean="0"/>
              <a:t>BUSINESS PLAN</a:t>
            </a:r>
            <a:endParaRPr lang="en-US" dirty="0">
              <a:latin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  <p:sp>
        <p:nvSpPr>
          <p:cNvPr id="84" name="Freeform 5"/>
          <p:cNvSpPr>
            <a:spLocks noEditPoints="1"/>
          </p:cNvSpPr>
          <p:nvPr/>
        </p:nvSpPr>
        <p:spPr bwMode="auto">
          <a:xfrm>
            <a:off x="1580224" y="2012047"/>
            <a:ext cx="1351394" cy="1352087"/>
          </a:xfrm>
          <a:custGeom>
            <a:avLst/>
            <a:gdLst>
              <a:gd name="T0" fmla="*/ 1722 w 1946"/>
              <a:gd name="T1" fmla="*/ 754 h 1947"/>
              <a:gd name="T2" fmla="*/ 1657 w 1946"/>
              <a:gd name="T3" fmla="*/ 597 h 1947"/>
              <a:gd name="T4" fmla="*/ 1593 w 1946"/>
              <a:gd name="T5" fmla="*/ 216 h 1947"/>
              <a:gd name="T6" fmla="*/ 1350 w 1946"/>
              <a:gd name="T7" fmla="*/ 289 h 1947"/>
              <a:gd name="T8" fmla="*/ 1193 w 1946"/>
              <a:gd name="T9" fmla="*/ 225 h 1947"/>
              <a:gd name="T10" fmla="*/ 877 w 1946"/>
              <a:gd name="T11" fmla="*/ 0 h 1947"/>
              <a:gd name="T12" fmla="*/ 753 w 1946"/>
              <a:gd name="T13" fmla="*/ 225 h 1947"/>
              <a:gd name="T14" fmla="*/ 596 w 1946"/>
              <a:gd name="T15" fmla="*/ 289 h 1947"/>
              <a:gd name="T16" fmla="*/ 218 w 1946"/>
              <a:gd name="T17" fmla="*/ 353 h 1947"/>
              <a:gd name="T18" fmla="*/ 289 w 1946"/>
              <a:gd name="T19" fmla="*/ 597 h 1947"/>
              <a:gd name="T20" fmla="*/ 224 w 1946"/>
              <a:gd name="T21" fmla="*/ 754 h 1947"/>
              <a:gd name="T22" fmla="*/ 0 w 1946"/>
              <a:gd name="T23" fmla="*/ 1069 h 1947"/>
              <a:gd name="T24" fmla="*/ 224 w 1946"/>
              <a:gd name="T25" fmla="*/ 1192 h 1947"/>
              <a:gd name="T26" fmla="*/ 289 w 1946"/>
              <a:gd name="T27" fmla="*/ 1350 h 1947"/>
              <a:gd name="T28" fmla="*/ 353 w 1946"/>
              <a:gd name="T29" fmla="*/ 1729 h 1947"/>
              <a:gd name="T30" fmla="*/ 596 w 1946"/>
              <a:gd name="T31" fmla="*/ 1656 h 1947"/>
              <a:gd name="T32" fmla="*/ 753 w 1946"/>
              <a:gd name="T33" fmla="*/ 1722 h 1947"/>
              <a:gd name="T34" fmla="*/ 1069 w 1946"/>
              <a:gd name="T35" fmla="*/ 1947 h 1947"/>
              <a:gd name="T36" fmla="*/ 1193 w 1946"/>
              <a:gd name="T37" fmla="*/ 1722 h 1947"/>
              <a:gd name="T38" fmla="*/ 1350 w 1946"/>
              <a:gd name="T39" fmla="*/ 1656 h 1947"/>
              <a:gd name="T40" fmla="*/ 1728 w 1946"/>
              <a:gd name="T41" fmla="*/ 1593 h 1947"/>
              <a:gd name="T42" fmla="*/ 1657 w 1946"/>
              <a:gd name="T43" fmla="*/ 1350 h 1947"/>
              <a:gd name="T44" fmla="*/ 1722 w 1946"/>
              <a:gd name="T45" fmla="*/ 1192 h 1947"/>
              <a:gd name="T46" fmla="*/ 1946 w 1946"/>
              <a:gd name="T47" fmla="*/ 876 h 1947"/>
              <a:gd name="T48" fmla="*/ 939 w 1946"/>
              <a:gd name="T49" fmla="*/ 1622 h 1947"/>
              <a:gd name="T50" fmla="*/ 811 w 1946"/>
              <a:gd name="T51" fmla="*/ 1603 h 1947"/>
              <a:gd name="T52" fmla="*/ 691 w 1946"/>
              <a:gd name="T53" fmla="*/ 1558 h 1947"/>
              <a:gd name="T54" fmla="*/ 585 w 1946"/>
              <a:gd name="T55" fmla="*/ 1494 h 1947"/>
              <a:gd name="T56" fmla="*/ 493 w 1946"/>
              <a:gd name="T57" fmla="*/ 1410 h 1947"/>
              <a:gd name="T58" fmla="*/ 419 w 1946"/>
              <a:gd name="T59" fmla="*/ 1309 h 1947"/>
              <a:gd name="T60" fmla="*/ 364 w 1946"/>
              <a:gd name="T61" fmla="*/ 1196 h 1947"/>
              <a:gd name="T62" fmla="*/ 332 w 1946"/>
              <a:gd name="T63" fmla="*/ 1072 h 1947"/>
              <a:gd name="T64" fmla="*/ 324 w 1946"/>
              <a:gd name="T65" fmla="*/ 973 h 1947"/>
              <a:gd name="T66" fmla="*/ 337 w 1946"/>
              <a:gd name="T67" fmla="*/ 842 h 1947"/>
              <a:gd name="T68" fmla="*/ 375 w 1946"/>
              <a:gd name="T69" fmla="*/ 721 h 1947"/>
              <a:gd name="T70" fmla="*/ 435 w 1946"/>
              <a:gd name="T71" fmla="*/ 610 h 1947"/>
              <a:gd name="T72" fmla="*/ 515 w 1946"/>
              <a:gd name="T73" fmla="*/ 514 h 1947"/>
              <a:gd name="T74" fmla="*/ 610 w 1946"/>
              <a:gd name="T75" fmla="*/ 435 h 1947"/>
              <a:gd name="T76" fmla="*/ 720 w 1946"/>
              <a:gd name="T77" fmla="*/ 375 h 1947"/>
              <a:gd name="T78" fmla="*/ 843 w 1946"/>
              <a:gd name="T79" fmla="*/ 338 h 1947"/>
              <a:gd name="T80" fmla="*/ 974 w 1946"/>
              <a:gd name="T81" fmla="*/ 324 h 1947"/>
              <a:gd name="T82" fmla="*/ 1071 w 1946"/>
              <a:gd name="T83" fmla="*/ 332 h 1947"/>
              <a:gd name="T84" fmla="*/ 1195 w 1946"/>
              <a:gd name="T85" fmla="*/ 364 h 1947"/>
              <a:gd name="T86" fmla="*/ 1310 w 1946"/>
              <a:gd name="T87" fmla="*/ 418 h 1947"/>
              <a:gd name="T88" fmla="*/ 1409 w 1946"/>
              <a:gd name="T89" fmla="*/ 493 h 1947"/>
              <a:gd name="T90" fmla="*/ 1493 w 1946"/>
              <a:gd name="T91" fmla="*/ 586 h 1947"/>
              <a:gd name="T92" fmla="*/ 1558 w 1946"/>
              <a:gd name="T93" fmla="*/ 692 h 1947"/>
              <a:gd name="T94" fmla="*/ 1602 w 1946"/>
              <a:gd name="T95" fmla="*/ 812 h 1947"/>
              <a:gd name="T96" fmla="*/ 1621 w 1946"/>
              <a:gd name="T97" fmla="*/ 940 h 1947"/>
              <a:gd name="T98" fmla="*/ 1618 w 1946"/>
              <a:gd name="T99" fmla="*/ 1039 h 1947"/>
              <a:gd name="T100" fmla="*/ 1592 w 1946"/>
              <a:gd name="T101" fmla="*/ 1166 h 1947"/>
              <a:gd name="T102" fmla="*/ 1544 w 1946"/>
              <a:gd name="T103" fmla="*/ 1283 h 1947"/>
              <a:gd name="T104" fmla="*/ 1474 w 1946"/>
              <a:gd name="T105" fmla="*/ 1386 h 1947"/>
              <a:gd name="T106" fmla="*/ 1385 w 1946"/>
              <a:gd name="T107" fmla="*/ 1474 h 1947"/>
              <a:gd name="T108" fmla="*/ 1282 w 1946"/>
              <a:gd name="T109" fmla="*/ 1543 h 1947"/>
              <a:gd name="T110" fmla="*/ 1165 w 1946"/>
              <a:gd name="T111" fmla="*/ 1593 h 1947"/>
              <a:gd name="T112" fmla="*/ 1040 w 1946"/>
              <a:gd name="T113" fmla="*/ 1619 h 19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946" h="1947">
                <a:moveTo>
                  <a:pt x="1741" y="839"/>
                </a:moveTo>
                <a:lnTo>
                  <a:pt x="1741" y="839"/>
                </a:lnTo>
                <a:lnTo>
                  <a:pt x="1733" y="796"/>
                </a:lnTo>
                <a:lnTo>
                  <a:pt x="1722" y="754"/>
                </a:lnTo>
                <a:lnTo>
                  <a:pt x="1709" y="712"/>
                </a:lnTo>
                <a:lnTo>
                  <a:pt x="1693" y="672"/>
                </a:lnTo>
                <a:lnTo>
                  <a:pt x="1676" y="634"/>
                </a:lnTo>
                <a:lnTo>
                  <a:pt x="1657" y="597"/>
                </a:lnTo>
                <a:lnTo>
                  <a:pt x="1635" y="559"/>
                </a:lnTo>
                <a:lnTo>
                  <a:pt x="1611" y="525"/>
                </a:lnTo>
                <a:lnTo>
                  <a:pt x="1728" y="353"/>
                </a:lnTo>
                <a:lnTo>
                  <a:pt x="1593" y="216"/>
                </a:lnTo>
                <a:lnTo>
                  <a:pt x="1421" y="335"/>
                </a:lnTo>
                <a:lnTo>
                  <a:pt x="1421" y="335"/>
                </a:lnTo>
                <a:lnTo>
                  <a:pt x="1385" y="311"/>
                </a:lnTo>
                <a:lnTo>
                  <a:pt x="1350" y="289"/>
                </a:lnTo>
                <a:lnTo>
                  <a:pt x="1312" y="270"/>
                </a:lnTo>
                <a:lnTo>
                  <a:pt x="1273" y="252"/>
                </a:lnTo>
                <a:lnTo>
                  <a:pt x="1233" y="237"/>
                </a:lnTo>
                <a:lnTo>
                  <a:pt x="1193" y="225"/>
                </a:lnTo>
                <a:lnTo>
                  <a:pt x="1150" y="214"/>
                </a:lnTo>
                <a:lnTo>
                  <a:pt x="1107" y="204"/>
                </a:lnTo>
                <a:lnTo>
                  <a:pt x="1069" y="0"/>
                </a:lnTo>
                <a:lnTo>
                  <a:pt x="877" y="0"/>
                </a:lnTo>
                <a:lnTo>
                  <a:pt x="839" y="204"/>
                </a:lnTo>
                <a:lnTo>
                  <a:pt x="839" y="204"/>
                </a:lnTo>
                <a:lnTo>
                  <a:pt x="796" y="214"/>
                </a:lnTo>
                <a:lnTo>
                  <a:pt x="753" y="225"/>
                </a:lnTo>
                <a:lnTo>
                  <a:pt x="713" y="237"/>
                </a:lnTo>
                <a:lnTo>
                  <a:pt x="673" y="252"/>
                </a:lnTo>
                <a:lnTo>
                  <a:pt x="634" y="270"/>
                </a:lnTo>
                <a:lnTo>
                  <a:pt x="596" y="289"/>
                </a:lnTo>
                <a:lnTo>
                  <a:pt x="561" y="311"/>
                </a:lnTo>
                <a:lnTo>
                  <a:pt x="525" y="335"/>
                </a:lnTo>
                <a:lnTo>
                  <a:pt x="353" y="216"/>
                </a:lnTo>
                <a:lnTo>
                  <a:pt x="218" y="353"/>
                </a:lnTo>
                <a:lnTo>
                  <a:pt x="335" y="525"/>
                </a:lnTo>
                <a:lnTo>
                  <a:pt x="335" y="525"/>
                </a:lnTo>
                <a:lnTo>
                  <a:pt x="311" y="559"/>
                </a:lnTo>
                <a:lnTo>
                  <a:pt x="289" y="597"/>
                </a:lnTo>
                <a:lnTo>
                  <a:pt x="270" y="634"/>
                </a:lnTo>
                <a:lnTo>
                  <a:pt x="253" y="672"/>
                </a:lnTo>
                <a:lnTo>
                  <a:pt x="237" y="712"/>
                </a:lnTo>
                <a:lnTo>
                  <a:pt x="224" y="754"/>
                </a:lnTo>
                <a:lnTo>
                  <a:pt x="213" y="796"/>
                </a:lnTo>
                <a:lnTo>
                  <a:pt x="205" y="839"/>
                </a:lnTo>
                <a:lnTo>
                  <a:pt x="0" y="876"/>
                </a:lnTo>
                <a:lnTo>
                  <a:pt x="0" y="1069"/>
                </a:lnTo>
                <a:lnTo>
                  <a:pt x="205" y="1108"/>
                </a:lnTo>
                <a:lnTo>
                  <a:pt x="205" y="1108"/>
                </a:lnTo>
                <a:lnTo>
                  <a:pt x="213" y="1151"/>
                </a:lnTo>
                <a:lnTo>
                  <a:pt x="224" y="1192"/>
                </a:lnTo>
                <a:lnTo>
                  <a:pt x="237" y="1233"/>
                </a:lnTo>
                <a:lnTo>
                  <a:pt x="253" y="1273"/>
                </a:lnTo>
                <a:lnTo>
                  <a:pt x="270" y="1312"/>
                </a:lnTo>
                <a:lnTo>
                  <a:pt x="289" y="1350"/>
                </a:lnTo>
                <a:lnTo>
                  <a:pt x="311" y="1386"/>
                </a:lnTo>
                <a:lnTo>
                  <a:pt x="335" y="1422"/>
                </a:lnTo>
                <a:lnTo>
                  <a:pt x="218" y="1593"/>
                </a:lnTo>
                <a:lnTo>
                  <a:pt x="353" y="1729"/>
                </a:lnTo>
                <a:lnTo>
                  <a:pt x="525" y="1612"/>
                </a:lnTo>
                <a:lnTo>
                  <a:pt x="525" y="1612"/>
                </a:lnTo>
                <a:lnTo>
                  <a:pt x="561" y="1636"/>
                </a:lnTo>
                <a:lnTo>
                  <a:pt x="596" y="1656"/>
                </a:lnTo>
                <a:lnTo>
                  <a:pt x="634" y="1676"/>
                </a:lnTo>
                <a:lnTo>
                  <a:pt x="673" y="1693"/>
                </a:lnTo>
                <a:lnTo>
                  <a:pt x="713" y="1709"/>
                </a:lnTo>
                <a:lnTo>
                  <a:pt x="753" y="1722"/>
                </a:lnTo>
                <a:lnTo>
                  <a:pt x="796" y="1733"/>
                </a:lnTo>
                <a:lnTo>
                  <a:pt x="839" y="1742"/>
                </a:lnTo>
                <a:lnTo>
                  <a:pt x="877" y="1947"/>
                </a:lnTo>
                <a:lnTo>
                  <a:pt x="1069" y="1947"/>
                </a:lnTo>
                <a:lnTo>
                  <a:pt x="1107" y="1742"/>
                </a:lnTo>
                <a:lnTo>
                  <a:pt x="1107" y="1742"/>
                </a:lnTo>
                <a:lnTo>
                  <a:pt x="1150" y="1733"/>
                </a:lnTo>
                <a:lnTo>
                  <a:pt x="1193" y="1722"/>
                </a:lnTo>
                <a:lnTo>
                  <a:pt x="1233" y="1709"/>
                </a:lnTo>
                <a:lnTo>
                  <a:pt x="1273" y="1693"/>
                </a:lnTo>
                <a:lnTo>
                  <a:pt x="1312" y="1676"/>
                </a:lnTo>
                <a:lnTo>
                  <a:pt x="1350" y="1656"/>
                </a:lnTo>
                <a:lnTo>
                  <a:pt x="1385" y="1636"/>
                </a:lnTo>
                <a:lnTo>
                  <a:pt x="1421" y="1612"/>
                </a:lnTo>
                <a:lnTo>
                  <a:pt x="1593" y="1729"/>
                </a:lnTo>
                <a:lnTo>
                  <a:pt x="1728" y="1593"/>
                </a:lnTo>
                <a:lnTo>
                  <a:pt x="1611" y="1422"/>
                </a:lnTo>
                <a:lnTo>
                  <a:pt x="1611" y="1422"/>
                </a:lnTo>
                <a:lnTo>
                  <a:pt x="1635" y="1386"/>
                </a:lnTo>
                <a:lnTo>
                  <a:pt x="1657" y="1350"/>
                </a:lnTo>
                <a:lnTo>
                  <a:pt x="1676" y="1312"/>
                </a:lnTo>
                <a:lnTo>
                  <a:pt x="1693" y="1273"/>
                </a:lnTo>
                <a:lnTo>
                  <a:pt x="1709" y="1233"/>
                </a:lnTo>
                <a:lnTo>
                  <a:pt x="1722" y="1192"/>
                </a:lnTo>
                <a:lnTo>
                  <a:pt x="1733" y="1151"/>
                </a:lnTo>
                <a:lnTo>
                  <a:pt x="1741" y="1108"/>
                </a:lnTo>
                <a:lnTo>
                  <a:pt x="1946" y="1069"/>
                </a:lnTo>
                <a:lnTo>
                  <a:pt x="1946" y="876"/>
                </a:lnTo>
                <a:lnTo>
                  <a:pt x="1741" y="839"/>
                </a:lnTo>
                <a:close/>
                <a:moveTo>
                  <a:pt x="974" y="1622"/>
                </a:moveTo>
                <a:lnTo>
                  <a:pt x="974" y="1622"/>
                </a:lnTo>
                <a:lnTo>
                  <a:pt x="939" y="1622"/>
                </a:lnTo>
                <a:lnTo>
                  <a:pt x="906" y="1619"/>
                </a:lnTo>
                <a:lnTo>
                  <a:pt x="875" y="1615"/>
                </a:lnTo>
                <a:lnTo>
                  <a:pt x="843" y="1609"/>
                </a:lnTo>
                <a:lnTo>
                  <a:pt x="811" y="1603"/>
                </a:lnTo>
                <a:lnTo>
                  <a:pt x="781" y="1593"/>
                </a:lnTo>
                <a:lnTo>
                  <a:pt x="751" y="1583"/>
                </a:lnTo>
                <a:lnTo>
                  <a:pt x="720" y="1571"/>
                </a:lnTo>
                <a:lnTo>
                  <a:pt x="691" y="1558"/>
                </a:lnTo>
                <a:lnTo>
                  <a:pt x="664" y="1543"/>
                </a:lnTo>
                <a:lnTo>
                  <a:pt x="636" y="1528"/>
                </a:lnTo>
                <a:lnTo>
                  <a:pt x="610" y="1512"/>
                </a:lnTo>
                <a:lnTo>
                  <a:pt x="585" y="1494"/>
                </a:lnTo>
                <a:lnTo>
                  <a:pt x="561" y="1474"/>
                </a:lnTo>
                <a:lnTo>
                  <a:pt x="537" y="1454"/>
                </a:lnTo>
                <a:lnTo>
                  <a:pt x="515" y="1432"/>
                </a:lnTo>
                <a:lnTo>
                  <a:pt x="493" y="1410"/>
                </a:lnTo>
                <a:lnTo>
                  <a:pt x="472" y="1386"/>
                </a:lnTo>
                <a:lnTo>
                  <a:pt x="453" y="1361"/>
                </a:lnTo>
                <a:lnTo>
                  <a:pt x="435" y="1335"/>
                </a:lnTo>
                <a:lnTo>
                  <a:pt x="419" y="1309"/>
                </a:lnTo>
                <a:lnTo>
                  <a:pt x="402" y="1283"/>
                </a:lnTo>
                <a:lnTo>
                  <a:pt x="388" y="1254"/>
                </a:lnTo>
                <a:lnTo>
                  <a:pt x="375" y="1225"/>
                </a:lnTo>
                <a:lnTo>
                  <a:pt x="364" y="1196"/>
                </a:lnTo>
                <a:lnTo>
                  <a:pt x="354" y="1166"/>
                </a:lnTo>
                <a:lnTo>
                  <a:pt x="344" y="1135"/>
                </a:lnTo>
                <a:lnTo>
                  <a:pt x="337" y="1104"/>
                </a:lnTo>
                <a:lnTo>
                  <a:pt x="332" y="1072"/>
                </a:lnTo>
                <a:lnTo>
                  <a:pt x="328" y="1039"/>
                </a:lnTo>
                <a:lnTo>
                  <a:pt x="325" y="1006"/>
                </a:lnTo>
                <a:lnTo>
                  <a:pt x="324" y="973"/>
                </a:lnTo>
                <a:lnTo>
                  <a:pt x="324" y="973"/>
                </a:lnTo>
                <a:lnTo>
                  <a:pt x="325" y="940"/>
                </a:lnTo>
                <a:lnTo>
                  <a:pt x="328" y="907"/>
                </a:lnTo>
                <a:lnTo>
                  <a:pt x="332" y="875"/>
                </a:lnTo>
                <a:lnTo>
                  <a:pt x="337" y="842"/>
                </a:lnTo>
                <a:lnTo>
                  <a:pt x="344" y="812"/>
                </a:lnTo>
                <a:lnTo>
                  <a:pt x="354" y="780"/>
                </a:lnTo>
                <a:lnTo>
                  <a:pt x="364" y="750"/>
                </a:lnTo>
                <a:lnTo>
                  <a:pt x="375" y="721"/>
                </a:lnTo>
                <a:lnTo>
                  <a:pt x="388" y="692"/>
                </a:lnTo>
                <a:lnTo>
                  <a:pt x="402" y="664"/>
                </a:lnTo>
                <a:lnTo>
                  <a:pt x="419" y="637"/>
                </a:lnTo>
                <a:lnTo>
                  <a:pt x="435" y="610"/>
                </a:lnTo>
                <a:lnTo>
                  <a:pt x="453" y="586"/>
                </a:lnTo>
                <a:lnTo>
                  <a:pt x="472" y="561"/>
                </a:lnTo>
                <a:lnTo>
                  <a:pt x="493" y="537"/>
                </a:lnTo>
                <a:lnTo>
                  <a:pt x="515" y="514"/>
                </a:lnTo>
                <a:lnTo>
                  <a:pt x="537" y="493"/>
                </a:lnTo>
                <a:lnTo>
                  <a:pt x="561" y="473"/>
                </a:lnTo>
                <a:lnTo>
                  <a:pt x="585" y="453"/>
                </a:lnTo>
                <a:lnTo>
                  <a:pt x="610" y="435"/>
                </a:lnTo>
                <a:lnTo>
                  <a:pt x="636" y="418"/>
                </a:lnTo>
                <a:lnTo>
                  <a:pt x="664" y="402"/>
                </a:lnTo>
                <a:lnTo>
                  <a:pt x="691" y="389"/>
                </a:lnTo>
                <a:lnTo>
                  <a:pt x="720" y="375"/>
                </a:lnTo>
                <a:lnTo>
                  <a:pt x="751" y="364"/>
                </a:lnTo>
                <a:lnTo>
                  <a:pt x="781" y="353"/>
                </a:lnTo>
                <a:lnTo>
                  <a:pt x="811" y="344"/>
                </a:lnTo>
                <a:lnTo>
                  <a:pt x="843" y="338"/>
                </a:lnTo>
                <a:lnTo>
                  <a:pt x="875" y="332"/>
                </a:lnTo>
                <a:lnTo>
                  <a:pt x="906" y="328"/>
                </a:lnTo>
                <a:lnTo>
                  <a:pt x="939" y="325"/>
                </a:lnTo>
                <a:lnTo>
                  <a:pt x="974" y="324"/>
                </a:lnTo>
                <a:lnTo>
                  <a:pt x="974" y="324"/>
                </a:lnTo>
                <a:lnTo>
                  <a:pt x="1007" y="325"/>
                </a:lnTo>
                <a:lnTo>
                  <a:pt x="1040" y="328"/>
                </a:lnTo>
                <a:lnTo>
                  <a:pt x="1071" y="332"/>
                </a:lnTo>
                <a:lnTo>
                  <a:pt x="1103" y="338"/>
                </a:lnTo>
                <a:lnTo>
                  <a:pt x="1135" y="344"/>
                </a:lnTo>
                <a:lnTo>
                  <a:pt x="1165" y="353"/>
                </a:lnTo>
                <a:lnTo>
                  <a:pt x="1195" y="364"/>
                </a:lnTo>
                <a:lnTo>
                  <a:pt x="1226" y="375"/>
                </a:lnTo>
                <a:lnTo>
                  <a:pt x="1255" y="389"/>
                </a:lnTo>
                <a:lnTo>
                  <a:pt x="1282" y="402"/>
                </a:lnTo>
                <a:lnTo>
                  <a:pt x="1310" y="418"/>
                </a:lnTo>
                <a:lnTo>
                  <a:pt x="1336" y="435"/>
                </a:lnTo>
                <a:lnTo>
                  <a:pt x="1361" y="453"/>
                </a:lnTo>
                <a:lnTo>
                  <a:pt x="1385" y="473"/>
                </a:lnTo>
                <a:lnTo>
                  <a:pt x="1409" y="493"/>
                </a:lnTo>
                <a:lnTo>
                  <a:pt x="1431" y="514"/>
                </a:lnTo>
                <a:lnTo>
                  <a:pt x="1453" y="537"/>
                </a:lnTo>
                <a:lnTo>
                  <a:pt x="1474" y="561"/>
                </a:lnTo>
                <a:lnTo>
                  <a:pt x="1493" y="586"/>
                </a:lnTo>
                <a:lnTo>
                  <a:pt x="1511" y="610"/>
                </a:lnTo>
                <a:lnTo>
                  <a:pt x="1527" y="637"/>
                </a:lnTo>
                <a:lnTo>
                  <a:pt x="1544" y="664"/>
                </a:lnTo>
                <a:lnTo>
                  <a:pt x="1558" y="692"/>
                </a:lnTo>
                <a:lnTo>
                  <a:pt x="1571" y="721"/>
                </a:lnTo>
                <a:lnTo>
                  <a:pt x="1582" y="750"/>
                </a:lnTo>
                <a:lnTo>
                  <a:pt x="1592" y="780"/>
                </a:lnTo>
                <a:lnTo>
                  <a:pt x="1602" y="812"/>
                </a:lnTo>
                <a:lnTo>
                  <a:pt x="1609" y="842"/>
                </a:lnTo>
                <a:lnTo>
                  <a:pt x="1614" y="875"/>
                </a:lnTo>
                <a:lnTo>
                  <a:pt x="1618" y="907"/>
                </a:lnTo>
                <a:lnTo>
                  <a:pt x="1621" y="940"/>
                </a:lnTo>
                <a:lnTo>
                  <a:pt x="1622" y="973"/>
                </a:lnTo>
                <a:lnTo>
                  <a:pt x="1622" y="973"/>
                </a:lnTo>
                <a:lnTo>
                  <a:pt x="1621" y="1006"/>
                </a:lnTo>
                <a:lnTo>
                  <a:pt x="1618" y="1039"/>
                </a:lnTo>
                <a:lnTo>
                  <a:pt x="1614" y="1072"/>
                </a:lnTo>
                <a:lnTo>
                  <a:pt x="1609" y="1104"/>
                </a:lnTo>
                <a:lnTo>
                  <a:pt x="1602" y="1135"/>
                </a:lnTo>
                <a:lnTo>
                  <a:pt x="1592" y="1166"/>
                </a:lnTo>
                <a:lnTo>
                  <a:pt x="1582" y="1196"/>
                </a:lnTo>
                <a:lnTo>
                  <a:pt x="1571" y="1225"/>
                </a:lnTo>
                <a:lnTo>
                  <a:pt x="1558" y="1254"/>
                </a:lnTo>
                <a:lnTo>
                  <a:pt x="1544" y="1283"/>
                </a:lnTo>
                <a:lnTo>
                  <a:pt x="1527" y="1309"/>
                </a:lnTo>
                <a:lnTo>
                  <a:pt x="1511" y="1335"/>
                </a:lnTo>
                <a:lnTo>
                  <a:pt x="1493" y="1361"/>
                </a:lnTo>
                <a:lnTo>
                  <a:pt x="1474" y="1386"/>
                </a:lnTo>
                <a:lnTo>
                  <a:pt x="1453" y="1410"/>
                </a:lnTo>
                <a:lnTo>
                  <a:pt x="1431" y="1432"/>
                </a:lnTo>
                <a:lnTo>
                  <a:pt x="1409" y="1454"/>
                </a:lnTo>
                <a:lnTo>
                  <a:pt x="1385" y="1474"/>
                </a:lnTo>
                <a:lnTo>
                  <a:pt x="1361" y="1494"/>
                </a:lnTo>
                <a:lnTo>
                  <a:pt x="1336" y="1512"/>
                </a:lnTo>
                <a:lnTo>
                  <a:pt x="1310" y="1528"/>
                </a:lnTo>
                <a:lnTo>
                  <a:pt x="1282" y="1543"/>
                </a:lnTo>
                <a:lnTo>
                  <a:pt x="1255" y="1558"/>
                </a:lnTo>
                <a:lnTo>
                  <a:pt x="1226" y="1571"/>
                </a:lnTo>
                <a:lnTo>
                  <a:pt x="1195" y="1583"/>
                </a:lnTo>
                <a:lnTo>
                  <a:pt x="1165" y="1593"/>
                </a:lnTo>
                <a:lnTo>
                  <a:pt x="1135" y="1603"/>
                </a:lnTo>
                <a:lnTo>
                  <a:pt x="1103" y="1609"/>
                </a:lnTo>
                <a:lnTo>
                  <a:pt x="1071" y="1615"/>
                </a:lnTo>
                <a:lnTo>
                  <a:pt x="1040" y="1619"/>
                </a:lnTo>
                <a:lnTo>
                  <a:pt x="1007" y="1622"/>
                </a:lnTo>
                <a:lnTo>
                  <a:pt x="974" y="1622"/>
                </a:lnTo>
                <a:lnTo>
                  <a:pt x="974" y="1622"/>
                </a:lnTo>
                <a:close/>
              </a:path>
            </a:pathLst>
          </a:custGeom>
          <a:solidFill>
            <a:srgbClr val="D5D5D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61" name="Group 60"/>
          <p:cNvGrpSpPr/>
          <p:nvPr/>
        </p:nvGrpSpPr>
        <p:grpSpPr>
          <a:xfrm>
            <a:off x="2782688" y="2912375"/>
            <a:ext cx="903054" cy="903518"/>
            <a:chOff x="2060575" y="1763713"/>
            <a:chExt cx="3089275" cy="3090862"/>
          </a:xfrm>
          <a:solidFill>
            <a:srgbClr val="2A9B18"/>
          </a:solidFill>
        </p:grpSpPr>
        <p:sp>
          <p:nvSpPr>
            <p:cNvPr id="82" name="Freeform 5"/>
            <p:cNvSpPr>
              <a:spLocks noEditPoints="1"/>
            </p:cNvSpPr>
            <p:nvPr/>
          </p:nvSpPr>
          <p:spPr bwMode="auto">
            <a:xfrm>
              <a:off x="2060575" y="1763713"/>
              <a:ext cx="3089275" cy="3090862"/>
            </a:xfrm>
            <a:custGeom>
              <a:avLst/>
              <a:gdLst>
                <a:gd name="T0" fmla="*/ 1722 w 1946"/>
                <a:gd name="T1" fmla="*/ 754 h 1947"/>
                <a:gd name="T2" fmla="*/ 1657 w 1946"/>
                <a:gd name="T3" fmla="*/ 597 h 1947"/>
                <a:gd name="T4" fmla="*/ 1593 w 1946"/>
                <a:gd name="T5" fmla="*/ 216 h 1947"/>
                <a:gd name="T6" fmla="*/ 1350 w 1946"/>
                <a:gd name="T7" fmla="*/ 289 h 1947"/>
                <a:gd name="T8" fmla="*/ 1193 w 1946"/>
                <a:gd name="T9" fmla="*/ 225 h 1947"/>
                <a:gd name="T10" fmla="*/ 877 w 1946"/>
                <a:gd name="T11" fmla="*/ 0 h 1947"/>
                <a:gd name="T12" fmla="*/ 753 w 1946"/>
                <a:gd name="T13" fmla="*/ 225 h 1947"/>
                <a:gd name="T14" fmla="*/ 596 w 1946"/>
                <a:gd name="T15" fmla="*/ 289 h 1947"/>
                <a:gd name="T16" fmla="*/ 218 w 1946"/>
                <a:gd name="T17" fmla="*/ 353 h 1947"/>
                <a:gd name="T18" fmla="*/ 289 w 1946"/>
                <a:gd name="T19" fmla="*/ 597 h 1947"/>
                <a:gd name="T20" fmla="*/ 224 w 1946"/>
                <a:gd name="T21" fmla="*/ 754 h 1947"/>
                <a:gd name="T22" fmla="*/ 0 w 1946"/>
                <a:gd name="T23" fmla="*/ 1069 h 1947"/>
                <a:gd name="T24" fmla="*/ 224 w 1946"/>
                <a:gd name="T25" fmla="*/ 1192 h 1947"/>
                <a:gd name="T26" fmla="*/ 289 w 1946"/>
                <a:gd name="T27" fmla="*/ 1350 h 1947"/>
                <a:gd name="T28" fmla="*/ 353 w 1946"/>
                <a:gd name="T29" fmla="*/ 1729 h 1947"/>
                <a:gd name="T30" fmla="*/ 596 w 1946"/>
                <a:gd name="T31" fmla="*/ 1656 h 1947"/>
                <a:gd name="T32" fmla="*/ 753 w 1946"/>
                <a:gd name="T33" fmla="*/ 1722 h 1947"/>
                <a:gd name="T34" fmla="*/ 1069 w 1946"/>
                <a:gd name="T35" fmla="*/ 1947 h 1947"/>
                <a:gd name="T36" fmla="*/ 1193 w 1946"/>
                <a:gd name="T37" fmla="*/ 1722 h 1947"/>
                <a:gd name="T38" fmla="*/ 1350 w 1946"/>
                <a:gd name="T39" fmla="*/ 1656 h 1947"/>
                <a:gd name="T40" fmla="*/ 1728 w 1946"/>
                <a:gd name="T41" fmla="*/ 1593 h 1947"/>
                <a:gd name="T42" fmla="*/ 1657 w 1946"/>
                <a:gd name="T43" fmla="*/ 1350 h 1947"/>
                <a:gd name="T44" fmla="*/ 1722 w 1946"/>
                <a:gd name="T45" fmla="*/ 1192 h 1947"/>
                <a:gd name="T46" fmla="*/ 1946 w 1946"/>
                <a:gd name="T47" fmla="*/ 876 h 1947"/>
                <a:gd name="T48" fmla="*/ 939 w 1946"/>
                <a:gd name="T49" fmla="*/ 1622 h 1947"/>
                <a:gd name="T50" fmla="*/ 811 w 1946"/>
                <a:gd name="T51" fmla="*/ 1603 h 1947"/>
                <a:gd name="T52" fmla="*/ 691 w 1946"/>
                <a:gd name="T53" fmla="*/ 1558 h 1947"/>
                <a:gd name="T54" fmla="*/ 585 w 1946"/>
                <a:gd name="T55" fmla="*/ 1494 h 1947"/>
                <a:gd name="T56" fmla="*/ 493 w 1946"/>
                <a:gd name="T57" fmla="*/ 1410 h 1947"/>
                <a:gd name="T58" fmla="*/ 419 w 1946"/>
                <a:gd name="T59" fmla="*/ 1309 h 1947"/>
                <a:gd name="T60" fmla="*/ 364 w 1946"/>
                <a:gd name="T61" fmla="*/ 1196 h 1947"/>
                <a:gd name="T62" fmla="*/ 332 w 1946"/>
                <a:gd name="T63" fmla="*/ 1072 h 1947"/>
                <a:gd name="T64" fmla="*/ 324 w 1946"/>
                <a:gd name="T65" fmla="*/ 973 h 1947"/>
                <a:gd name="T66" fmla="*/ 337 w 1946"/>
                <a:gd name="T67" fmla="*/ 842 h 1947"/>
                <a:gd name="T68" fmla="*/ 375 w 1946"/>
                <a:gd name="T69" fmla="*/ 721 h 1947"/>
                <a:gd name="T70" fmla="*/ 435 w 1946"/>
                <a:gd name="T71" fmla="*/ 610 h 1947"/>
                <a:gd name="T72" fmla="*/ 515 w 1946"/>
                <a:gd name="T73" fmla="*/ 514 h 1947"/>
                <a:gd name="T74" fmla="*/ 610 w 1946"/>
                <a:gd name="T75" fmla="*/ 435 h 1947"/>
                <a:gd name="T76" fmla="*/ 720 w 1946"/>
                <a:gd name="T77" fmla="*/ 375 h 1947"/>
                <a:gd name="T78" fmla="*/ 843 w 1946"/>
                <a:gd name="T79" fmla="*/ 338 h 1947"/>
                <a:gd name="T80" fmla="*/ 974 w 1946"/>
                <a:gd name="T81" fmla="*/ 324 h 1947"/>
                <a:gd name="T82" fmla="*/ 1071 w 1946"/>
                <a:gd name="T83" fmla="*/ 332 h 1947"/>
                <a:gd name="T84" fmla="*/ 1195 w 1946"/>
                <a:gd name="T85" fmla="*/ 364 h 1947"/>
                <a:gd name="T86" fmla="*/ 1310 w 1946"/>
                <a:gd name="T87" fmla="*/ 418 h 1947"/>
                <a:gd name="T88" fmla="*/ 1409 w 1946"/>
                <a:gd name="T89" fmla="*/ 493 h 1947"/>
                <a:gd name="T90" fmla="*/ 1493 w 1946"/>
                <a:gd name="T91" fmla="*/ 586 h 1947"/>
                <a:gd name="T92" fmla="*/ 1558 w 1946"/>
                <a:gd name="T93" fmla="*/ 692 h 1947"/>
                <a:gd name="T94" fmla="*/ 1602 w 1946"/>
                <a:gd name="T95" fmla="*/ 812 h 1947"/>
                <a:gd name="T96" fmla="*/ 1621 w 1946"/>
                <a:gd name="T97" fmla="*/ 940 h 1947"/>
                <a:gd name="T98" fmla="*/ 1618 w 1946"/>
                <a:gd name="T99" fmla="*/ 1039 h 1947"/>
                <a:gd name="T100" fmla="*/ 1592 w 1946"/>
                <a:gd name="T101" fmla="*/ 1166 h 1947"/>
                <a:gd name="T102" fmla="*/ 1544 w 1946"/>
                <a:gd name="T103" fmla="*/ 1283 h 1947"/>
                <a:gd name="T104" fmla="*/ 1474 w 1946"/>
                <a:gd name="T105" fmla="*/ 1386 h 1947"/>
                <a:gd name="T106" fmla="*/ 1385 w 1946"/>
                <a:gd name="T107" fmla="*/ 1474 h 1947"/>
                <a:gd name="T108" fmla="*/ 1282 w 1946"/>
                <a:gd name="T109" fmla="*/ 1543 h 1947"/>
                <a:gd name="T110" fmla="*/ 1165 w 1946"/>
                <a:gd name="T111" fmla="*/ 1593 h 1947"/>
                <a:gd name="T112" fmla="*/ 1040 w 1946"/>
                <a:gd name="T113" fmla="*/ 1619 h 19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946" h="1947">
                  <a:moveTo>
                    <a:pt x="1741" y="839"/>
                  </a:moveTo>
                  <a:lnTo>
                    <a:pt x="1741" y="839"/>
                  </a:lnTo>
                  <a:lnTo>
                    <a:pt x="1733" y="796"/>
                  </a:lnTo>
                  <a:lnTo>
                    <a:pt x="1722" y="754"/>
                  </a:lnTo>
                  <a:lnTo>
                    <a:pt x="1709" y="712"/>
                  </a:lnTo>
                  <a:lnTo>
                    <a:pt x="1693" y="672"/>
                  </a:lnTo>
                  <a:lnTo>
                    <a:pt x="1676" y="634"/>
                  </a:lnTo>
                  <a:lnTo>
                    <a:pt x="1657" y="597"/>
                  </a:lnTo>
                  <a:lnTo>
                    <a:pt x="1635" y="559"/>
                  </a:lnTo>
                  <a:lnTo>
                    <a:pt x="1611" y="525"/>
                  </a:lnTo>
                  <a:lnTo>
                    <a:pt x="1728" y="353"/>
                  </a:lnTo>
                  <a:lnTo>
                    <a:pt x="1593" y="216"/>
                  </a:lnTo>
                  <a:lnTo>
                    <a:pt x="1421" y="335"/>
                  </a:lnTo>
                  <a:lnTo>
                    <a:pt x="1421" y="335"/>
                  </a:lnTo>
                  <a:lnTo>
                    <a:pt x="1385" y="311"/>
                  </a:lnTo>
                  <a:lnTo>
                    <a:pt x="1350" y="289"/>
                  </a:lnTo>
                  <a:lnTo>
                    <a:pt x="1312" y="270"/>
                  </a:lnTo>
                  <a:lnTo>
                    <a:pt x="1273" y="252"/>
                  </a:lnTo>
                  <a:lnTo>
                    <a:pt x="1233" y="237"/>
                  </a:lnTo>
                  <a:lnTo>
                    <a:pt x="1193" y="225"/>
                  </a:lnTo>
                  <a:lnTo>
                    <a:pt x="1150" y="214"/>
                  </a:lnTo>
                  <a:lnTo>
                    <a:pt x="1107" y="204"/>
                  </a:lnTo>
                  <a:lnTo>
                    <a:pt x="1069" y="0"/>
                  </a:lnTo>
                  <a:lnTo>
                    <a:pt x="877" y="0"/>
                  </a:lnTo>
                  <a:lnTo>
                    <a:pt x="839" y="204"/>
                  </a:lnTo>
                  <a:lnTo>
                    <a:pt x="839" y="204"/>
                  </a:lnTo>
                  <a:lnTo>
                    <a:pt x="796" y="214"/>
                  </a:lnTo>
                  <a:lnTo>
                    <a:pt x="753" y="225"/>
                  </a:lnTo>
                  <a:lnTo>
                    <a:pt x="713" y="237"/>
                  </a:lnTo>
                  <a:lnTo>
                    <a:pt x="673" y="252"/>
                  </a:lnTo>
                  <a:lnTo>
                    <a:pt x="634" y="270"/>
                  </a:lnTo>
                  <a:lnTo>
                    <a:pt x="596" y="289"/>
                  </a:lnTo>
                  <a:lnTo>
                    <a:pt x="561" y="311"/>
                  </a:lnTo>
                  <a:lnTo>
                    <a:pt x="525" y="335"/>
                  </a:lnTo>
                  <a:lnTo>
                    <a:pt x="353" y="216"/>
                  </a:lnTo>
                  <a:lnTo>
                    <a:pt x="218" y="353"/>
                  </a:lnTo>
                  <a:lnTo>
                    <a:pt x="335" y="525"/>
                  </a:lnTo>
                  <a:lnTo>
                    <a:pt x="335" y="525"/>
                  </a:lnTo>
                  <a:lnTo>
                    <a:pt x="311" y="559"/>
                  </a:lnTo>
                  <a:lnTo>
                    <a:pt x="289" y="597"/>
                  </a:lnTo>
                  <a:lnTo>
                    <a:pt x="270" y="634"/>
                  </a:lnTo>
                  <a:lnTo>
                    <a:pt x="253" y="672"/>
                  </a:lnTo>
                  <a:lnTo>
                    <a:pt x="237" y="712"/>
                  </a:lnTo>
                  <a:lnTo>
                    <a:pt x="224" y="754"/>
                  </a:lnTo>
                  <a:lnTo>
                    <a:pt x="213" y="796"/>
                  </a:lnTo>
                  <a:lnTo>
                    <a:pt x="205" y="839"/>
                  </a:lnTo>
                  <a:lnTo>
                    <a:pt x="0" y="876"/>
                  </a:lnTo>
                  <a:lnTo>
                    <a:pt x="0" y="1069"/>
                  </a:lnTo>
                  <a:lnTo>
                    <a:pt x="205" y="1108"/>
                  </a:lnTo>
                  <a:lnTo>
                    <a:pt x="205" y="1108"/>
                  </a:lnTo>
                  <a:lnTo>
                    <a:pt x="213" y="1151"/>
                  </a:lnTo>
                  <a:lnTo>
                    <a:pt x="224" y="1192"/>
                  </a:lnTo>
                  <a:lnTo>
                    <a:pt x="237" y="1233"/>
                  </a:lnTo>
                  <a:lnTo>
                    <a:pt x="253" y="1273"/>
                  </a:lnTo>
                  <a:lnTo>
                    <a:pt x="270" y="1312"/>
                  </a:lnTo>
                  <a:lnTo>
                    <a:pt x="289" y="1350"/>
                  </a:lnTo>
                  <a:lnTo>
                    <a:pt x="311" y="1386"/>
                  </a:lnTo>
                  <a:lnTo>
                    <a:pt x="335" y="1422"/>
                  </a:lnTo>
                  <a:lnTo>
                    <a:pt x="218" y="1593"/>
                  </a:lnTo>
                  <a:lnTo>
                    <a:pt x="353" y="1729"/>
                  </a:lnTo>
                  <a:lnTo>
                    <a:pt x="525" y="1612"/>
                  </a:lnTo>
                  <a:lnTo>
                    <a:pt x="525" y="1612"/>
                  </a:lnTo>
                  <a:lnTo>
                    <a:pt x="561" y="1636"/>
                  </a:lnTo>
                  <a:lnTo>
                    <a:pt x="596" y="1656"/>
                  </a:lnTo>
                  <a:lnTo>
                    <a:pt x="634" y="1676"/>
                  </a:lnTo>
                  <a:lnTo>
                    <a:pt x="673" y="1693"/>
                  </a:lnTo>
                  <a:lnTo>
                    <a:pt x="713" y="1709"/>
                  </a:lnTo>
                  <a:lnTo>
                    <a:pt x="753" y="1722"/>
                  </a:lnTo>
                  <a:lnTo>
                    <a:pt x="796" y="1733"/>
                  </a:lnTo>
                  <a:lnTo>
                    <a:pt x="839" y="1742"/>
                  </a:lnTo>
                  <a:lnTo>
                    <a:pt x="877" y="1947"/>
                  </a:lnTo>
                  <a:lnTo>
                    <a:pt x="1069" y="1947"/>
                  </a:lnTo>
                  <a:lnTo>
                    <a:pt x="1107" y="1742"/>
                  </a:lnTo>
                  <a:lnTo>
                    <a:pt x="1107" y="1742"/>
                  </a:lnTo>
                  <a:lnTo>
                    <a:pt x="1150" y="1733"/>
                  </a:lnTo>
                  <a:lnTo>
                    <a:pt x="1193" y="1722"/>
                  </a:lnTo>
                  <a:lnTo>
                    <a:pt x="1233" y="1709"/>
                  </a:lnTo>
                  <a:lnTo>
                    <a:pt x="1273" y="1693"/>
                  </a:lnTo>
                  <a:lnTo>
                    <a:pt x="1312" y="1676"/>
                  </a:lnTo>
                  <a:lnTo>
                    <a:pt x="1350" y="1656"/>
                  </a:lnTo>
                  <a:lnTo>
                    <a:pt x="1385" y="1636"/>
                  </a:lnTo>
                  <a:lnTo>
                    <a:pt x="1421" y="1612"/>
                  </a:lnTo>
                  <a:lnTo>
                    <a:pt x="1593" y="1729"/>
                  </a:lnTo>
                  <a:lnTo>
                    <a:pt x="1728" y="1593"/>
                  </a:lnTo>
                  <a:lnTo>
                    <a:pt x="1611" y="1422"/>
                  </a:lnTo>
                  <a:lnTo>
                    <a:pt x="1611" y="1422"/>
                  </a:lnTo>
                  <a:lnTo>
                    <a:pt x="1635" y="1386"/>
                  </a:lnTo>
                  <a:lnTo>
                    <a:pt x="1657" y="1350"/>
                  </a:lnTo>
                  <a:lnTo>
                    <a:pt x="1676" y="1312"/>
                  </a:lnTo>
                  <a:lnTo>
                    <a:pt x="1693" y="1273"/>
                  </a:lnTo>
                  <a:lnTo>
                    <a:pt x="1709" y="1233"/>
                  </a:lnTo>
                  <a:lnTo>
                    <a:pt x="1722" y="1192"/>
                  </a:lnTo>
                  <a:lnTo>
                    <a:pt x="1733" y="1151"/>
                  </a:lnTo>
                  <a:lnTo>
                    <a:pt x="1741" y="1108"/>
                  </a:lnTo>
                  <a:lnTo>
                    <a:pt x="1946" y="1069"/>
                  </a:lnTo>
                  <a:lnTo>
                    <a:pt x="1946" y="876"/>
                  </a:lnTo>
                  <a:lnTo>
                    <a:pt x="1741" y="839"/>
                  </a:lnTo>
                  <a:close/>
                  <a:moveTo>
                    <a:pt x="974" y="1622"/>
                  </a:moveTo>
                  <a:lnTo>
                    <a:pt x="974" y="1622"/>
                  </a:lnTo>
                  <a:lnTo>
                    <a:pt x="939" y="1622"/>
                  </a:lnTo>
                  <a:lnTo>
                    <a:pt x="906" y="1619"/>
                  </a:lnTo>
                  <a:lnTo>
                    <a:pt x="875" y="1615"/>
                  </a:lnTo>
                  <a:lnTo>
                    <a:pt x="843" y="1609"/>
                  </a:lnTo>
                  <a:lnTo>
                    <a:pt x="811" y="1603"/>
                  </a:lnTo>
                  <a:lnTo>
                    <a:pt x="781" y="1593"/>
                  </a:lnTo>
                  <a:lnTo>
                    <a:pt x="751" y="1583"/>
                  </a:lnTo>
                  <a:lnTo>
                    <a:pt x="720" y="1571"/>
                  </a:lnTo>
                  <a:lnTo>
                    <a:pt x="691" y="1558"/>
                  </a:lnTo>
                  <a:lnTo>
                    <a:pt x="664" y="1543"/>
                  </a:lnTo>
                  <a:lnTo>
                    <a:pt x="636" y="1528"/>
                  </a:lnTo>
                  <a:lnTo>
                    <a:pt x="610" y="1512"/>
                  </a:lnTo>
                  <a:lnTo>
                    <a:pt x="585" y="1494"/>
                  </a:lnTo>
                  <a:lnTo>
                    <a:pt x="561" y="1474"/>
                  </a:lnTo>
                  <a:lnTo>
                    <a:pt x="537" y="1454"/>
                  </a:lnTo>
                  <a:lnTo>
                    <a:pt x="515" y="1432"/>
                  </a:lnTo>
                  <a:lnTo>
                    <a:pt x="493" y="1410"/>
                  </a:lnTo>
                  <a:lnTo>
                    <a:pt x="472" y="1386"/>
                  </a:lnTo>
                  <a:lnTo>
                    <a:pt x="453" y="1361"/>
                  </a:lnTo>
                  <a:lnTo>
                    <a:pt x="435" y="1335"/>
                  </a:lnTo>
                  <a:lnTo>
                    <a:pt x="419" y="1309"/>
                  </a:lnTo>
                  <a:lnTo>
                    <a:pt x="402" y="1283"/>
                  </a:lnTo>
                  <a:lnTo>
                    <a:pt x="388" y="1254"/>
                  </a:lnTo>
                  <a:lnTo>
                    <a:pt x="375" y="1225"/>
                  </a:lnTo>
                  <a:lnTo>
                    <a:pt x="364" y="1196"/>
                  </a:lnTo>
                  <a:lnTo>
                    <a:pt x="354" y="1166"/>
                  </a:lnTo>
                  <a:lnTo>
                    <a:pt x="344" y="1135"/>
                  </a:lnTo>
                  <a:lnTo>
                    <a:pt x="337" y="1104"/>
                  </a:lnTo>
                  <a:lnTo>
                    <a:pt x="332" y="1072"/>
                  </a:lnTo>
                  <a:lnTo>
                    <a:pt x="328" y="1039"/>
                  </a:lnTo>
                  <a:lnTo>
                    <a:pt x="325" y="1006"/>
                  </a:lnTo>
                  <a:lnTo>
                    <a:pt x="324" y="973"/>
                  </a:lnTo>
                  <a:lnTo>
                    <a:pt x="324" y="973"/>
                  </a:lnTo>
                  <a:lnTo>
                    <a:pt x="325" y="940"/>
                  </a:lnTo>
                  <a:lnTo>
                    <a:pt x="328" y="907"/>
                  </a:lnTo>
                  <a:lnTo>
                    <a:pt x="332" y="875"/>
                  </a:lnTo>
                  <a:lnTo>
                    <a:pt x="337" y="842"/>
                  </a:lnTo>
                  <a:lnTo>
                    <a:pt x="344" y="812"/>
                  </a:lnTo>
                  <a:lnTo>
                    <a:pt x="354" y="780"/>
                  </a:lnTo>
                  <a:lnTo>
                    <a:pt x="364" y="750"/>
                  </a:lnTo>
                  <a:lnTo>
                    <a:pt x="375" y="721"/>
                  </a:lnTo>
                  <a:lnTo>
                    <a:pt x="388" y="692"/>
                  </a:lnTo>
                  <a:lnTo>
                    <a:pt x="402" y="664"/>
                  </a:lnTo>
                  <a:lnTo>
                    <a:pt x="419" y="637"/>
                  </a:lnTo>
                  <a:lnTo>
                    <a:pt x="435" y="610"/>
                  </a:lnTo>
                  <a:lnTo>
                    <a:pt x="453" y="586"/>
                  </a:lnTo>
                  <a:lnTo>
                    <a:pt x="472" y="561"/>
                  </a:lnTo>
                  <a:lnTo>
                    <a:pt x="493" y="537"/>
                  </a:lnTo>
                  <a:lnTo>
                    <a:pt x="515" y="514"/>
                  </a:lnTo>
                  <a:lnTo>
                    <a:pt x="537" y="493"/>
                  </a:lnTo>
                  <a:lnTo>
                    <a:pt x="561" y="473"/>
                  </a:lnTo>
                  <a:lnTo>
                    <a:pt x="585" y="453"/>
                  </a:lnTo>
                  <a:lnTo>
                    <a:pt x="610" y="435"/>
                  </a:lnTo>
                  <a:lnTo>
                    <a:pt x="636" y="418"/>
                  </a:lnTo>
                  <a:lnTo>
                    <a:pt x="664" y="402"/>
                  </a:lnTo>
                  <a:lnTo>
                    <a:pt x="691" y="389"/>
                  </a:lnTo>
                  <a:lnTo>
                    <a:pt x="720" y="375"/>
                  </a:lnTo>
                  <a:lnTo>
                    <a:pt x="751" y="364"/>
                  </a:lnTo>
                  <a:lnTo>
                    <a:pt x="781" y="353"/>
                  </a:lnTo>
                  <a:lnTo>
                    <a:pt x="811" y="344"/>
                  </a:lnTo>
                  <a:lnTo>
                    <a:pt x="843" y="338"/>
                  </a:lnTo>
                  <a:lnTo>
                    <a:pt x="875" y="332"/>
                  </a:lnTo>
                  <a:lnTo>
                    <a:pt x="906" y="328"/>
                  </a:lnTo>
                  <a:lnTo>
                    <a:pt x="939" y="325"/>
                  </a:lnTo>
                  <a:lnTo>
                    <a:pt x="974" y="324"/>
                  </a:lnTo>
                  <a:lnTo>
                    <a:pt x="974" y="324"/>
                  </a:lnTo>
                  <a:lnTo>
                    <a:pt x="1007" y="325"/>
                  </a:lnTo>
                  <a:lnTo>
                    <a:pt x="1040" y="328"/>
                  </a:lnTo>
                  <a:lnTo>
                    <a:pt x="1071" y="332"/>
                  </a:lnTo>
                  <a:lnTo>
                    <a:pt x="1103" y="338"/>
                  </a:lnTo>
                  <a:lnTo>
                    <a:pt x="1135" y="344"/>
                  </a:lnTo>
                  <a:lnTo>
                    <a:pt x="1165" y="353"/>
                  </a:lnTo>
                  <a:lnTo>
                    <a:pt x="1195" y="364"/>
                  </a:lnTo>
                  <a:lnTo>
                    <a:pt x="1226" y="375"/>
                  </a:lnTo>
                  <a:lnTo>
                    <a:pt x="1255" y="389"/>
                  </a:lnTo>
                  <a:lnTo>
                    <a:pt x="1282" y="402"/>
                  </a:lnTo>
                  <a:lnTo>
                    <a:pt x="1310" y="418"/>
                  </a:lnTo>
                  <a:lnTo>
                    <a:pt x="1336" y="435"/>
                  </a:lnTo>
                  <a:lnTo>
                    <a:pt x="1361" y="453"/>
                  </a:lnTo>
                  <a:lnTo>
                    <a:pt x="1385" y="473"/>
                  </a:lnTo>
                  <a:lnTo>
                    <a:pt x="1409" y="493"/>
                  </a:lnTo>
                  <a:lnTo>
                    <a:pt x="1431" y="514"/>
                  </a:lnTo>
                  <a:lnTo>
                    <a:pt x="1453" y="537"/>
                  </a:lnTo>
                  <a:lnTo>
                    <a:pt x="1474" y="561"/>
                  </a:lnTo>
                  <a:lnTo>
                    <a:pt x="1493" y="586"/>
                  </a:lnTo>
                  <a:lnTo>
                    <a:pt x="1511" y="610"/>
                  </a:lnTo>
                  <a:lnTo>
                    <a:pt x="1527" y="637"/>
                  </a:lnTo>
                  <a:lnTo>
                    <a:pt x="1544" y="664"/>
                  </a:lnTo>
                  <a:lnTo>
                    <a:pt x="1558" y="692"/>
                  </a:lnTo>
                  <a:lnTo>
                    <a:pt x="1571" y="721"/>
                  </a:lnTo>
                  <a:lnTo>
                    <a:pt x="1582" y="750"/>
                  </a:lnTo>
                  <a:lnTo>
                    <a:pt x="1592" y="780"/>
                  </a:lnTo>
                  <a:lnTo>
                    <a:pt x="1602" y="812"/>
                  </a:lnTo>
                  <a:lnTo>
                    <a:pt x="1609" y="842"/>
                  </a:lnTo>
                  <a:lnTo>
                    <a:pt x="1614" y="875"/>
                  </a:lnTo>
                  <a:lnTo>
                    <a:pt x="1618" y="907"/>
                  </a:lnTo>
                  <a:lnTo>
                    <a:pt x="1621" y="940"/>
                  </a:lnTo>
                  <a:lnTo>
                    <a:pt x="1622" y="973"/>
                  </a:lnTo>
                  <a:lnTo>
                    <a:pt x="1622" y="973"/>
                  </a:lnTo>
                  <a:lnTo>
                    <a:pt x="1621" y="1006"/>
                  </a:lnTo>
                  <a:lnTo>
                    <a:pt x="1618" y="1039"/>
                  </a:lnTo>
                  <a:lnTo>
                    <a:pt x="1614" y="1072"/>
                  </a:lnTo>
                  <a:lnTo>
                    <a:pt x="1609" y="1104"/>
                  </a:lnTo>
                  <a:lnTo>
                    <a:pt x="1602" y="1135"/>
                  </a:lnTo>
                  <a:lnTo>
                    <a:pt x="1592" y="1166"/>
                  </a:lnTo>
                  <a:lnTo>
                    <a:pt x="1582" y="1196"/>
                  </a:lnTo>
                  <a:lnTo>
                    <a:pt x="1571" y="1225"/>
                  </a:lnTo>
                  <a:lnTo>
                    <a:pt x="1558" y="1254"/>
                  </a:lnTo>
                  <a:lnTo>
                    <a:pt x="1544" y="1283"/>
                  </a:lnTo>
                  <a:lnTo>
                    <a:pt x="1527" y="1309"/>
                  </a:lnTo>
                  <a:lnTo>
                    <a:pt x="1511" y="1335"/>
                  </a:lnTo>
                  <a:lnTo>
                    <a:pt x="1493" y="1361"/>
                  </a:lnTo>
                  <a:lnTo>
                    <a:pt x="1474" y="1386"/>
                  </a:lnTo>
                  <a:lnTo>
                    <a:pt x="1453" y="1410"/>
                  </a:lnTo>
                  <a:lnTo>
                    <a:pt x="1431" y="1432"/>
                  </a:lnTo>
                  <a:lnTo>
                    <a:pt x="1409" y="1454"/>
                  </a:lnTo>
                  <a:lnTo>
                    <a:pt x="1385" y="1474"/>
                  </a:lnTo>
                  <a:lnTo>
                    <a:pt x="1361" y="1494"/>
                  </a:lnTo>
                  <a:lnTo>
                    <a:pt x="1336" y="1512"/>
                  </a:lnTo>
                  <a:lnTo>
                    <a:pt x="1310" y="1528"/>
                  </a:lnTo>
                  <a:lnTo>
                    <a:pt x="1282" y="1543"/>
                  </a:lnTo>
                  <a:lnTo>
                    <a:pt x="1255" y="1558"/>
                  </a:lnTo>
                  <a:lnTo>
                    <a:pt x="1226" y="1571"/>
                  </a:lnTo>
                  <a:lnTo>
                    <a:pt x="1195" y="1583"/>
                  </a:lnTo>
                  <a:lnTo>
                    <a:pt x="1165" y="1593"/>
                  </a:lnTo>
                  <a:lnTo>
                    <a:pt x="1135" y="1603"/>
                  </a:lnTo>
                  <a:lnTo>
                    <a:pt x="1103" y="1609"/>
                  </a:lnTo>
                  <a:lnTo>
                    <a:pt x="1071" y="1615"/>
                  </a:lnTo>
                  <a:lnTo>
                    <a:pt x="1040" y="1619"/>
                  </a:lnTo>
                  <a:lnTo>
                    <a:pt x="1007" y="1622"/>
                  </a:lnTo>
                  <a:lnTo>
                    <a:pt x="974" y="1622"/>
                  </a:lnTo>
                  <a:lnTo>
                    <a:pt x="974" y="162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8"/>
            <p:cNvSpPr>
              <a:spLocks/>
            </p:cNvSpPr>
            <p:nvPr/>
          </p:nvSpPr>
          <p:spPr bwMode="auto">
            <a:xfrm>
              <a:off x="2678873" y="2383860"/>
              <a:ext cx="1852679" cy="1850565"/>
            </a:xfrm>
            <a:custGeom>
              <a:avLst/>
              <a:gdLst>
                <a:gd name="T0" fmla="*/ 416 w 878"/>
                <a:gd name="T1" fmla="*/ 0 h 877"/>
                <a:gd name="T2" fmla="*/ 350 w 878"/>
                <a:gd name="T3" fmla="*/ 8 h 877"/>
                <a:gd name="T4" fmla="*/ 288 w 878"/>
                <a:gd name="T5" fmla="*/ 26 h 877"/>
                <a:gd name="T6" fmla="*/ 230 w 878"/>
                <a:gd name="T7" fmla="*/ 52 h 877"/>
                <a:gd name="T8" fmla="*/ 177 w 878"/>
                <a:gd name="T9" fmla="*/ 86 h 877"/>
                <a:gd name="T10" fmla="*/ 128 w 878"/>
                <a:gd name="T11" fmla="*/ 128 h 877"/>
                <a:gd name="T12" fmla="*/ 87 w 878"/>
                <a:gd name="T13" fmla="*/ 176 h 877"/>
                <a:gd name="T14" fmla="*/ 53 w 878"/>
                <a:gd name="T15" fmla="*/ 230 h 877"/>
                <a:gd name="T16" fmla="*/ 27 w 878"/>
                <a:gd name="T17" fmla="*/ 288 h 877"/>
                <a:gd name="T18" fmla="*/ 9 w 878"/>
                <a:gd name="T19" fmla="*/ 350 h 877"/>
                <a:gd name="T20" fmla="*/ 0 w 878"/>
                <a:gd name="T21" fmla="*/ 416 h 877"/>
                <a:gd name="T22" fmla="*/ 0 w 878"/>
                <a:gd name="T23" fmla="*/ 461 h 877"/>
                <a:gd name="T24" fmla="*/ 9 w 878"/>
                <a:gd name="T25" fmla="*/ 526 h 877"/>
                <a:gd name="T26" fmla="*/ 27 w 878"/>
                <a:gd name="T27" fmla="*/ 589 h 877"/>
                <a:gd name="T28" fmla="*/ 53 w 878"/>
                <a:gd name="T29" fmla="*/ 647 h 877"/>
                <a:gd name="T30" fmla="*/ 87 w 878"/>
                <a:gd name="T31" fmla="*/ 701 h 877"/>
                <a:gd name="T32" fmla="*/ 128 w 878"/>
                <a:gd name="T33" fmla="*/ 748 h 877"/>
                <a:gd name="T34" fmla="*/ 177 w 878"/>
                <a:gd name="T35" fmla="*/ 789 h 877"/>
                <a:gd name="T36" fmla="*/ 230 w 878"/>
                <a:gd name="T37" fmla="*/ 824 h 877"/>
                <a:gd name="T38" fmla="*/ 288 w 878"/>
                <a:gd name="T39" fmla="*/ 850 h 877"/>
                <a:gd name="T40" fmla="*/ 350 w 878"/>
                <a:gd name="T41" fmla="*/ 868 h 877"/>
                <a:gd name="T42" fmla="*/ 416 w 878"/>
                <a:gd name="T43" fmla="*/ 876 h 877"/>
                <a:gd name="T44" fmla="*/ 462 w 878"/>
                <a:gd name="T45" fmla="*/ 876 h 877"/>
                <a:gd name="T46" fmla="*/ 528 w 878"/>
                <a:gd name="T47" fmla="*/ 868 h 877"/>
                <a:gd name="T48" fmla="*/ 590 w 878"/>
                <a:gd name="T49" fmla="*/ 850 h 877"/>
                <a:gd name="T50" fmla="*/ 648 w 878"/>
                <a:gd name="T51" fmla="*/ 824 h 877"/>
                <a:gd name="T52" fmla="*/ 701 w 878"/>
                <a:gd name="T53" fmla="*/ 789 h 877"/>
                <a:gd name="T54" fmla="*/ 750 w 878"/>
                <a:gd name="T55" fmla="*/ 748 h 877"/>
                <a:gd name="T56" fmla="*/ 791 w 878"/>
                <a:gd name="T57" fmla="*/ 701 h 877"/>
                <a:gd name="T58" fmla="*/ 825 w 878"/>
                <a:gd name="T59" fmla="*/ 647 h 877"/>
                <a:gd name="T60" fmla="*/ 851 w 878"/>
                <a:gd name="T61" fmla="*/ 589 h 877"/>
                <a:gd name="T62" fmla="*/ 869 w 878"/>
                <a:gd name="T63" fmla="*/ 526 h 877"/>
                <a:gd name="T64" fmla="*/ 878 w 878"/>
                <a:gd name="T65" fmla="*/ 461 h 877"/>
                <a:gd name="T66" fmla="*/ 878 w 878"/>
                <a:gd name="T67" fmla="*/ 416 h 877"/>
                <a:gd name="T68" fmla="*/ 869 w 878"/>
                <a:gd name="T69" fmla="*/ 350 h 877"/>
                <a:gd name="T70" fmla="*/ 851 w 878"/>
                <a:gd name="T71" fmla="*/ 288 h 877"/>
                <a:gd name="T72" fmla="*/ 825 w 878"/>
                <a:gd name="T73" fmla="*/ 230 h 877"/>
                <a:gd name="T74" fmla="*/ 791 w 878"/>
                <a:gd name="T75" fmla="*/ 176 h 877"/>
                <a:gd name="T76" fmla="*/ 750 w 878"/>
                <a:gd name="T77" fmla="*/ 128 h 877"/>
                <a:gd name="T78" fmla="*/ 701 w 878"/>
                <a:gd name="T79" fmla="*/ 86 h 877"/>
                <a:gd name="T80" fmla="*/ 648 w 878"/>
                <a:gd name="T81" fmla="*/ 52 h 877"/>
                <a:gd name="T82" fmla="*/ 590 w 878"/>
                <a:gd name="T83" fmla="*/ 26 h 877"/>
                <a:gd name="T84" fmla="*/ 528 w 878"/>
                <a:gd name="T85" fmla="*/ 8 h 877"/>
                <a:gd name="T86" fmla="*/ 462 w 878"/>
                <a:gd name="T87" fmla="*/ 0 h 8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78" h="877">
                  <a:moveTo>
                    <a:pt x="440" y="0"/>
                  </a:moveTo>
                  <a:lnTo>
                    <a:pt x="440" y="0"/>
                  </a:lnTo>
                  <a:lnTo>
                    <a:pt x="416" y="0"/>
                  </a:lnTo>
                  <a:lnTo>
                    <a:pt x="394" y="1"/>
                  </a:lnTo>
                  <a:lnTo>
                    <a:pt x="372" y="4"/>
                  </a:lnTo>
                  <a:lnTo>
                    <a:pt x="350" y="8"/>
                  </a:lnTo>
                  <a:lnTo>
                    <a:pt x="330" y="13"/>
                  </a:lnTo>
                  <a:lnTo>
                    <a:pt x="309" y="19"/>
                  </a:lnTo>
                  <a:lnTo>
                    <a:pt x="288" y="26"/>
                  </a:lnTo>
                  <a:lnTo>
                    <a:pt x="269" y="34"/>
                  </a:lnTo>
                  <a:lnTo>
                    <a:pt x="250" y="42"/>
                  </a:lnTo>
                  <a:lnTo>
                    <a:pt x="230" y="52"/>
                  </a:lnTo>
                  <a:lnTo>
                    <a:pt x="211" y="63"/>
                  </a:lnTo>
                  <a:lnTo>
                    <a:pt x="195" y="74"/>
                  </a:lnTo>
                  <a:lnTo>
                    <a:pt x="177" y="86"/>
                  </a:lnTo>
                  <a:lnTo>
                    <a:pt x="160" y="100"/>
                  </a:lnTo>
                  <a:lnTo>
                    <a:pt x="144" y="114"/>
                  </a:lnTo>
                  <a:lnTo>
                    <a:pt x="128" y="128"/>
                  </a:lnTo>
                  <a:lnTo>
                    <a:pt x="115" y="143"/>
                  </a:lnTo>
                  <a:lnTo>
                    <a:pt x="101" y="159"/>
                  </a:lnTo>
                  <a:lnTo>
                    <a:pt x="87" y="176"/>
                  </a:lnTo>
                  <a:lnTo>
                    <a:pt x="75" y="193"/>
                  </a:lnTo>
                  <a:lnTo>
                    <a:pt x="64" y="210"/>
                  </a:lnTo>
                  <a:lnTo>
                    <a:pt x="53" y="230"/>
                  </a:lnTo>
                  <a:lnTo>
                    <a:pt x="43" y="248"/>
                  </a:lnTo>
                  <a:lnTo>
                    <a:pt x="35" y="267"/>
                  </a:lnTo>
                  <a:lnTo>
                    <a:pt x="27" y="288"/>
                  </a:lnTo>
                  <a:lnTo>
                    <a:pt x="20" y="308"/>
                  </a:lnTo>
                  <a:lnTo>
                    <a:pt x="14" y="329"/>
                  </a:lnTo>
                  <a:lnTo>
                    <a:pt x="9" y="350"/>
                  </a:lnTo>
                  <a:lnTo>
                    <a:pt x="6" y="372"/>
                  </a:lnTo>
                  <a:lnTo>
                    <a:pt x="3" y="394"/>
                  </a:lnTo>
                  <a:lnTo>
                    <a:pt x="0" y="416"/>
                  </a:lnTo>
                  <a:lnTo>
                    <a:pt x="0" y="438"/>
                  </a:lnTo>
                  <a:lnTo>
                    <a:pt x="0" y="438"/>
                  </a:lnTo>
                  <a:lnTo>
                    <a:pt x="0" y="461"/>
                  </a:lnTo>
                  <a:lnTo>
                    <a:pt x="3" y="483"/>
                  </a:lnTo>
                  <a:lnTo>
                    <a:pt x="6" y="505"/>
                  </a:lnTo>
                  <a:lnTo>
                    <a:pt x="9" y="526"/>
                  </a:lnTo>
                  <a:lnTo>
                    <a:pt x="14" y="548"/>
                  </a:lnTo>
                  <a:lnTo>
                    <a:pt x="20" y="569"/>
                  </a:lnTo>
                  <a:lnTo>
                    <a:pt x="27" y="589"/>
                  </a:lnTo>
                  <a:lnTo>
                    <a:pt x="35" y="609"/>
                  </a:lnTo>
                  <a:lnTo>
                    <a:pt x="43" y="628"/>
                  </a:lnTo>
                  <a:lnTo>
                    <a:pt x="53" y="647"/>
                  </a:lnTo>
                  <a:lnTo>
                    <a:pt x="64" y="665"/>
                  </a:lnTo>
                  <a:lnTo>
                    <a:pt x="75" y="683"/>
                  </a:lnTo>
                  <a:lnTo>
                    <a:pt x="87" y="701"/>
                  </a:lnTo>
                  <a:lnTo>
                    <a:pt x="101" y="718"/>
                  </a:lnTo>
                  <a:lnTo>
                    <a:pt x="115" y="733"/>
                  </a:lnTo>
                  <a:lnTo>
                    <a:pt x="128" y="748"/>
                  </a:lnTo>
                  <a:lnTo>
                    <a:pt x="144" y="763"/>
                  </a:lnTo>
                  <a:lnTo>
                    <a:pt x="160" y="777"/>
                  </a:lnTo>
                  <a:lnTo>
                    <a:pt x="177" y="789"/>
                  </a:lnTo>
                  <a:lnTo>
                    <a:pt x="195" y="802"/>
                  </a:lnTo>
                  <a:lnTo>
                    <a:pt x="211" y="814"/>
                  </a:lnTo>
                  <a:lnTo>
                    <a:pt x="230" y="824"/>
                  </a:lnTo>
                  <a:lnTo>
                    <a:pt x="250" y="833"/>
                  </a:lnTo>
                  <a:lnTo>
                    <a:pt x="269" y="843"/>
                  </a:lnTo>
                  <a:lnTo>
                    <a:pt x="288" y="850"/>
                  </a:lnTo>
                  <a:lnTo>
                    <a:pt x="309" y="857"/>
                  </a:lnTo>
                  <a:lnTo>
                    <a:pt x="330" y="864"/>
                  </a:lnTo>
                  <a:lnTo>
                    <a:pt x="350" y="868"/>
                  </a:lnTo>
                  <a:lnTo>
                    <a:pt x="372" y="872"/>
                  </a:lnTo>
                  <a:lnTo>
                    <a:pt x="394" y="875"/>
                  </a:lnTo>
                  <a:lnTo>
                    <a:pt x="416" y="876"/>
                  </a:lnTo>
                  <a:lnTo>
                    <a:pt x="440" y="877"/>
                  </a:lnTo>
                  <a:lnTo>
                    <a:pt x="440" y="877"/>
                  </a:lnTo>
                  <a:lnTo>
                    <a:pt x="462" y="876"/>
                  </a:lnTo>
                  <a:lnTo>
                    <a:pt x="484" y="875"/>
                  </a:lnTo>
                  <a:lnTo>
                    <a:pt x="506" y="872"/>
                  </a:lnTo>
                  <a:lnTo>
                    <a:pt x="528" y="868"/>
                  </a:lnTo>
                  <a:lnTo>
                    <a:pt x="548" y="864"/>
                  </a:lnTo>
                  <a:lnTo>
                    <a:pt x="569" y="857"/>
                  </a:lnTo>
                  <a:lnTo>
                    <a:pt x="590" y="850"/>
                  </a:lnTo>
                  <a:lnTo>
                    <a:pt x="609" y="843"/>
                  </a:lnTo>
                  <a:lnTo>
                    <a:pt x="628" y="833"/>
                  </a:lnTo>
                  <a:lnTo>
                    <a:pt x="648" y="824"/>
                  </a:lnTo>
                  <a:lnTo>
                    <a:pt x="667" y="814"/>
                  </a:lnTo>
                  <a:lnTo>
                    <a:pt x="683" y="802"/>
                  </a:lnTo>
                  <a:lnTo>
                    <a:pt x="701" y="789"/>
                  </a:lnTo>
                  <a:lnTo>
                    <a:pt x="718" y="777"/>
                  </a:lnTo>
                  <a:lnTo>
                    <a:pt x="734" y="763"/>
                  </a:lnTo>
                  <a:lnTo>
                    <a:pt x="750" y="748"/>
                  </a:lnTo>
                  <a:lnTo>
                    <a:pt x="763" y="733"/>
                  </a:lnTo>
                  <a:lnTo>
                    <a:pt x="777" y="718"/>
                  </a:lnTo>
                  <a:lnTo>
                    <a:pt x="791" y="701"/>
                  </a:lnTo>
                  <a:lnTo>
                    <a:pt x="803" y="683"/>
                  </a:lnTo>
                  <a:lnTo>
                    <a:pt x="814" y="665"/>
                  </a:lnTo>
                  <a:lnTo>
                    <a:pt x="825" y="647"/>
                  </a:lnTo>
                  <a:lnTo>
                    <a:pt x="835" y="628"/>
                  </a:lnTo>
                  <a:lnTo>
                    <a:pt x="843" y="609"/>
                  </a:lnTo>
                  <a:lnTo>
                    <a:pt x="851" y="589"/>
                  </a:lnTo>
                  <a:lnTo>
                    <a:pt x="858" y="569"/>
                  </a:lnTo>
                  <a:lnTo>
                    <a:pt x="864" y="548"/>
                  </a:lnTo>
                  <a:lnTo>
                    <a:pt x="869" y="526"/>
                  </a:lnTo>
                  <a:lnTo>
                    <a:pt x="872" y="505"/>
                  </a:lnTo>
                  <a:lnTo>
                    <a:pt x="875" y="483"/>
                  </a:lnTo>
                  <a:lnTo>
                    <a:pt x="878" y="461"/>
                  </a:lnTo>
                  <a:lnTo>
                    <a:pt x="878" y="438"/>
                  </a:lnTo>
                  <a:lnTo>
                    <a:pt x="878" y="438"/>
                  </a:lnTo>
                  <a:lnTo>
                    <a:pt x="878" y="416"/>
                  </a:lnTo>
                  <a:lnTo>
                    <a:pt x="875" y="394"/>
                  </a:lnTo>
                  <a:lnTo>
                    <a:pt x="872" y="372"/>
                  </a:lnTo>
                  <a:lnTo>
                    <a:pt x="869" y="350"/>
                  </a:lnTo>
                  <a:lnTo>
                    <a:pt x="864" y="329"/>
                  </a:lnTo>
                  <a:lnTo>
                    <a:pt x="858" y="308"/>
                  </a:lnTo>
                  <a:lnTo>
                    <a:pt x="851" y="288"/>
                  </a:lnTo>
                  <a:lnTo>
                    <a:pt x="843" y="267"/>
                  </a:lnTo>
                  <a:lnTo>
                    <a:pt x="835" y="248"/>
                  </a:lnTo>
                  <a:lnTo>
                    <a:pt x="825" y="230"/>
                  </a:lnTo>
                  <a:lnTo>
                    <a:pt x="814" y="210"/>
                  </a:lnTo>
                  <a:lnTo>
                    <a:pt x="803" y="193"/>
                  </a:lnTo>
                  <a:lnTo>
                    <a:pt x="791" y="176"/>
                  </a:lnTo>
                  <a:lnTo>
                    <a:pt x="777" y="159"/>
                  </a:lnTo>
                  <a:lnTo>
                    <a:pt x="763" y="143"/>
                  </a:lnTo>
                  <a:lnTo>
                    <a:pt x="750" y="128"/>
                  </a:lnTo>
                  <a:lnTo>
                    <a:pt x="734" y="114"/>
                  </a:lnTo>
                  <a:lnTo>
                    <a:pt x="718" y="100"/>
                  </a:lnTo>
                  <a:lnTo>
                    <a:pt x="701" y="86"/>
                  </a:lnTo>
                  <a:lnTo>
                    <a:pt x="683" y="74"/>
                  </a:lnTo>
                  <a:lnTo>
                    <a:pt x="667" y="63"/>
                  </a:lnTo>
                  <a:lnTo>
                    <a:pt x="648" y="52"/>
                  </a:lnTo>
                  <a:lnTo>
                    <a:pt x="628" y="42"/>
                  </a:lnTo>
                  <a:lnTo>
                    <a:pt x="609" y="34"/>
                  </a:lnTo>
                  <a:lnTo>
                    <a:pt x="590" y="26"/>
                  </a:lnTo>
                  <a:lnTo>
                    <a:pt x="569" y="19"/>
                  </a:lnTo>
                  <a:lnTo>
                    <a:pt x="548" y="13"/>
                  </a:lnTo>
                  <a:lnTo>
                    <a:pt x="528" y="8"/>
                  </a:lnTo>
                  <a:lnTo>
                    <a:pt x="506" y="4"/>
                  </a:lnTo>
                  <a:lnTo>
                    <a:pt x="484" y="1"/>
                  </a:lnTo>
                  <a:lnTo>
                    <a:pt x="462" y="0"/>
                  </a:lnTo>
                  <a:lnTo>
                    <a:pt x="440" y="0"/>
                  </a:lnTo>
                  <a:lnTo>
                    <a:pt x="44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200" b="1" dirty="0" smtClean="0">
                  <a:solidFill>
                    <a:schemeClr val="bg1"/>
                  </a:solidFill>
                </a:rPr>
                <a:t>Team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79" name="Freeform 5"/>
          <p:cNvSpPr>
            <a:spLocks noEditPoints="1"/>
          </p:cNvSpPr>
          <p:nvPr/>
        </p:nvSpPr>
        <p:spPr bwMode="auto">
          <a:xfrm>
            <a:off x="3018600" y="1599458"/>
            <a:ext cx="1351394" cy="1352087"/>
          </a:xfrm>
          <a:custGeom>
            <a:avLst/>
            <a:gdLst>
              <a:gd name="T0" fmla="*/ 1722 w 1946"/>
              <a:gd name="T1" fmla="*/ 754 h 1947"/>
              <a:gd name="T2" fmla="*/ 1657 w 1946"/>
              <a:gd name="T3" fmla="*/ 597 h 1947"/>
              <a:gd name="T4" fmla="*/ 1593 w 1946"/>
              <a:gd name="T5" fmla="*/ 216 h 1947"/>
              <a:gd name="T6" fmla="*/ 1350 w 1946"/>
              <a:gd name="T7" fmla="*/ 289 h 1947"/>
              <a:gd name="T8" fmla="*/ 1193 w 1946"/>
              <a:gd name="T9" fmla="*/ 225 h 1947"/>
              <a:gd name="T10" fmla="*/ 877 w 1946"/>
              <a:gd name="T11" fmla="*/ 0 h 1947"/>
              <a:gd name="T12" fmla="*/ 753 w 1946"/>
              <a:gd name="T13" fmla="*/ 225 h 1947"/>
              <a:gd name="T14" fmla="*/ 596 w 1946"/>
              <a:gd name="T15" fmla="*/ 289 h 1947"/>
              <a:gd name="T16" fmla="*/ 218 w 1946"/>
              <a:gd name="T17" fmla="*/ 353 h 1947"/>
              <a:gd name="T18" fmla="*/ 289 w 1946"/>
              <a:gd name="T19" fmla="*/ 597 h 1947"/>
              <a:gd name="T20" fmla="*/ 224 w 1946"/>
              <a:gd name="T21" fmla="*/ 754 h 1947"/>
              <a:gd name="T22" fmla="*/ 0 w 1946"/>
              <a:gd name="T23" fmla="*/ 1069 h 1947"/>
              <a:gd name="T24" fmla="*/ 224 w 1946"/>
              <a:gd name="T25" fmla="*/ 1192 h 1947"/>
              <a:gd name="T26" fmla="*/ 289 w 1946"/>
              <a:gd name="T27" fmla="*/ 1350 h 1947"/>
              <a:gd name="T28" fmla="*/ 353 w 1946"/>
              <a:gd name="T29" fmla="*/ 1729 h 1947"/>
              <a:gd name="T30" fmla="*/ 596 w 1946"/>
              <a:gd name="T31" fmla="*/ 1656 h 1947"/>
              <a:gd name="T32" fmla="*/ 753 w 1946"/>
              <a:gd name="T33" fmla="*/ 1722 h 1947"/>
              <a:gd name="T34" fmla="*/ 1069 w 1946"/>
              <a:gd name="T35" fmla="*/ 1947 h 1947"/>
              <a:gd name="T36" fmla="*/ 1193 w 1946"/>
              <a:gd name="T37" fmla="*/ 1722 h 1947"/>
              <a:gd name="T38" fmla="*/ 1350 w 1946"/>
              <a:gd name="T39" fmla="*/ 1656 h 1947"/>
              <a:gd name="T40" fmla="*/ 1728 w 1946"/>
              <a:gd name="T41" fmla="*/ 1593 h 1947"/>
              <a:gd name="T42" fmla="*/ 1657 w 1946"/>
              <a:gd name="T43" fmla="*/ 1350 h 1947"/>
              <a:gd name="T44" fmla="*/ 1722 w 1946"/>
              <a:gd name="T45" fmla="*/ 1192 h 1947"/>
              <a:gd name="T46" fmla="*/ 1946 w 1946"/>
              <a:gd name="T47" fmla="*/ 876 h 1947"/>
              <a:gd name="T48" fmla="*/ 939 w 1946"/>
              <a:gd name="T49" fmla="*/ 1622 h 1947"/>
              <a:gd name="T50" fmla="*/ 811 w 1946"/>
              <a:gd name="T51" fmla="*/ 1603 h 1947"/>
              <a:gd name="T52" fmla="*/ 691 w 1946"/>
              <a:gd name="T53" fmla="*/ 1558 h 1947"/>
              <a:gd name="T54" fmla="*/ 585 w 1946"/>
              <a:gd name="T55" fmla="*/ 1494 h 1947"/>
              <a:gd name="T56" fmla="*/ 493 w 1946"/>
              <a:gd name="T57" fmla="*/ 1410 h 1947"/>
              <a:gd name="T58" fmla="*/ 419 w 1946"/>
              <a:gd name="T59" fmla="*/ 1309 h 1947"/>
              <a:gd name="T60" fmla="*/ 364 w 1946"/>
              <a:gd name="T61" fmla="*/ 1196 h 1947"/>
              <a:gd name="T62" fmla="*/ 332 w 1946"/>
              <a:gd name="T63" fmla="*/ 1072 h 1947"/>
              <a:gd name="T64" fmla="*/ 324 w 1946"/>
              <a:gd name="T65" fmla="*/ 973 h 1947"/>
              <a:gd name="T66" fmla="*/ 337 w 1946"/>
              <a:gd name="T67" fmla="*/ 842 h 1947"/>
              <a:gd name="T68" fmla="*/ 375 w 1946"/>
              <a:gd name="T69" fmla="*/ 721 h 1947"/>
              <a:gd name="T70" fmla="*/ 435 w 1946"/>
              <a:gd name="T71" fmla="*/ 610 h 1947"/>
              <a:gd name="T72" fmla="*/ 515 w 1946"/>
              <a:gd name="T73" fmla="*/ 514 h 1947"/>
              <a:gd name="T74" fmla="*/ 610 w 1946"/>
              <a:gd name="T75" fmla="*/ 435 h 1947"/>
              <a:gd name="T76" fmla="*/ 720 w 1946"/>
              <a:gd name="T77" fmla="*/ 375 h 1947"/>
              <a:gd name="T78" fmla="*/ 843 w 1946"/>
              <a:gd name="T79" fmla="*/ 338 h 1947"/>
              <a:gd name="T80" fmla="*/ 974 w 1946"/>
              <a:gd name="T81" fmla="*/ 324 h 1947"/>
              <a:gd name="T82" fmla="*/ 1071 w 1946"/>
              <a:gd name="T83" fmla="*/ 332 h 1947"/>
              <a:gd name="T84" fmla="*/ 1195 w 1946"/>
              <a:gd name="T85" fmla="*/ 364 h 1947"/>
              <a:gd name="T86" fmla="*/ 1310 w 1946"/>
              <a:gd name="T87" fmla="*/ 418 h 1947"/>
              <a:gd name="T88" fmla="*/ 1409 w 1946"/>
              <a:gd name="T89" fmla="*/ 493 h 1947"/>
              <a:gd name="T90" fmla="*/ 1493 w 1946"/>
              <a:gd name="T91" fmla="*/ 586 h 1947"/>
              <a:gd name="T92" fmla="*/ 1558 w 1946"/>
              <a:gd name="T93" fmla="*/ 692 h 1947"/>
              <a:gd name="T94" fmla="*/ 1602 w 1946"/>
              <a:gd name="T95" fmla="*/ 812 h 1947"/>
              <a:gd name="T96" fmla="*/ 1621 w 1946"/>
              <a:gd name="T97" fmla="*/ 940 h 1947"/>
              <a:gd name="T98" fmla="*/ 1618 w 1946"/>
              <a:gd name="T99" fmla="*/ 1039 h 1947"/>
              <a:gd name="T100" fmla="*/ 1592 w 1946"/>
              <a:gd name="T101" fmla="*/ 1166 h 1947"/>
              <a:gd name="T102" fmla="*/ 1544 w 1946"/>
              <a:gd name="T103" fmla="*/ 1283 h 1947"/>
              <a:gd name="T104" fmla="*/ 1474 w 1946"/>
              <a:gd name="T105" fmla="*/ 1386 h 1947"/>
              <a:gd name="T106" fmla="*/ 1385 w 1946"/>
              <a:gd name="T107" fmla="*/ 1474 h 1947"/>
              <a:gd name="T108" fmla="*/ 1282 w 1946"/>
              <a:gd name="T109" fmla="*/ 1543 h 1947"/>
              <a:gd name="T110" fmla="*/ 1165 w 1946"/>
              <a:gd name="T111" fmla="*/ 1593 h 1947"/>
              <a:gd name="T112" fmla="*/ 1040 w 1946"/>
              <a:gd name="T113" fmla="*/ 1619 h 19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946" h="1947">
                <a:moveTo>
                  <a:pt x="1741" y="839"/>
                </a:moveTo>
                <a:lnTo>
                  <a:pt x="1741" y="839"/>
                </a:lnTo>
                <a:lnTo>
                  <a:pt x="1733" y="796"/>
                </a:lnTo>
                <a:lnTo>
                  <a:pt x="1722" y="754"/>
                </a:lnTo>
                <a:lnTo>
                  <a:pt x="1709" y="712"/>
                </a:lnTo>
                <a:lnTo>
                  <a:pt x="1693" y="672"/>
                </a:lnTo>
                <a:lnTo>
                  <a:pt x="1676" y="634"/>
                </a:lnTo>
                <a:lnTo>
                  <a:pt x="1657" y="597"/>
                </a:lnTo>
                <a:lnTo>
                  <a:pt x="1635" y="559"/>
                </a:lnTo>
                <a:lnTo>
                  <a:pt x="1611" y="525"/>
                </a:lnTo>
                <a:lnTo>
                  <a:pt x="1728" y="353"/>
                </a:lnTo>
                <a:lnTo>
                  <a:pt x="1593" y="216"/>
                </a:lnTo>
                <a:lnTo>
                  <a:pt x="1421" y="335"/>
                </a:lnTo>
                <a:lnTo>
                  <a:pt x="1421" y="335"/>
                </a:lnTo>
                <a:lnTo>
                  <a:pt x="1385" y="311"/>
                </a:lnTo>
                <a:lnTo>
                  <a:pt x="1350" y="289"/>
                </a:lnTo>
                <a:lnTo>
                  <a:pt x="1312" y="270"/>
                </a:lnTo>
                <a:lnTo>
                  <a:pt x="1273" y="252"/>
                </a:lnTo>
                <a:lnTo>
                  <a:pt x="1233" y="237"/>
                </a:lnTo>
                <a:lnTo>
                  <a:pt x="1193" y="225"/>
                </a:lnTo>
                <a:lnTo>
                  <a:pt x="1150" y="214"/>
                </a:lnTo>
                <a:lnTo>
                  <a:pt x="1107" y="204"/>
                </a:lnTo>
                <a:lnTo>
                  <a:pt x="1069" y="0"/>
                </a:lnTo>
                <a:lnTo>
                  <a:pt x="877" y="0"/>
                </a:lnTo>
                <a:lnTo>
                  <a:pt x="839" y="204"/>
                </a:lnTo>
                <a:lnTo>
                  <a:pt x="839" y="204"/>
                </a:lnTo>
                <a:lnTo>
                  <a:pt x="796" y="214"/>
                </a:lnTo>
                <a:lnTo>
                  <a:pt x="753" y="225"/>
                </a:lnTo>
                <a:lnTo>
                  <a:pt x="713" y="237"/>
                </a:lnTo>
                <a:lnTo>
                  <a:pt x="673" y="252"/>
                </a:lnTo>
                <a:lnTo>
                  <a:pt x="634" y="270"/>
                </a:lnTo>
                <a:lnTo>
                  <a:pt x="596" y="289"/>
                </a:lnTo>
                <a:lnTo>
                  <a:pt x="561" y="311"/>
                </a:lnTo>
                <a:lnTo>
                  <a:pt x="525" y="335"/>
                </a:lnTo>
                <a:lnTo>
                  <a:pt x="353" y="216"/>
                </a:lnTo>
                <a:lnTo>
                  <a:pt x="218" y="353"/>
                </a:lnTo>
                <a:lnTo>
                  <a:pt x="335" y="525"/>
                </a:lnTo>
                <a:lnTo>
                  <a:pt x="335" y="525"/>
                </a:lnTo>
                <a:lnTo>
                  <a:pt x="311" y="559"/>
                </a:lnTo>
                <a:lnTo>
                  <a:pt x="289" y="597"/>
                </a:lnTo>
                <a:lnTo>
                  <a:pt x="270" y="634"/>
                </a:lnTo>
                <a:lnTo>
                  <a:pt x="253" y="672"/>
                </a:lnTo>
                <a:lnTo>
                  <a:pt x="237" y="712"/>
                </a:lnTo>
                <a:lnTo>
                  <a:pt x="224" y="754"/>
                </a:lnTo>
                <a:lnTo>
                  <a:pt x="213" y="796"/>
                </a:lnTo>
                <a:lnTo>
                  <a:pt x="205" y="839"/>
                </a:lnTo>
                <a:lnTo>
                  <a:pt x="0" y="876"/>
                </a:lnTo>
                <a:lnTo>
                  <a:pt x="0" y="1069"/>
                </a:lnTo>
                <a:lnTo>
                  <a:pt x="205" y="1108"/>
                </a:lnTo>
                <a:lnTo>
                  <a:pt x="205" y="1108"/>
                </a:lnTo>
                <a:lnTo>
                  <a:pt x="213" y="1151"/>
                </a:lnTo>
                <a:lnTo>
                  <a:pt x="224" y="1192"/>
                </a:lnTo>
                <a:lnTo>
                  <a:pt x="237" y="1233"/>
                </a:lnTo>
                <a:lnTo>
                  <a:pt x="253" y="1273"/>
                </a:lnTo>
                <a:lnTo>
                  <a:pt x="270" y="1312"/>
                </a:lnTo>
                <a:lnTo>
                  <a:pt x="289" y="1350"/>
                </a:lnTo>
                <a:lnTo>
                  <a:pt x="311" y="1386"/>
                </a:lnTo>
                <a:lnTo>
                  <a:pt x="335" y="1422"/>
                </a:lnTo>
                <a:lnTo>
                  <a:pt x="218" y="1593"/>
                </a:lnTo>
                <a:lnTo>
                  <a:pt x="353" y="1729"/>
                </a:lnTo>
                <a:lnTo>
                  <a:pt x="525" y="1612"/>
                </a:lnTo>
                <a:lnTo>
                  <a:pt x="525" y="1612"/>
                </a:lnTo>
                <a:lnTo>
                  <a:pt x="561" y="1636"/>
                </a:lnTo>
                <a:lnTo>
                  <a:pt x="596" y="1656"/>
                </a:lnTo>
                <a:lnTo>
                  <a:pt x="634" y="1676"/>
                </a:lnTo>
                <a:lnTo>
                  <a:pt x="673" y="1693"/>
                </a:lnTo>
                <a:lnTo>
                  <a:pt x="713" y="1709"/>
                </a:lnTo>
                <a:lnTo>
                  <a:pt x="753" y="1722"/>
                </a:lnTo>
                <a:lnTo>
                  <a:pt x="796" y="1733"/>
                </a:lnTo>
                <a:lnTo>
                  <a:pt x="839" y="1742"/>
                </a:lnTo>
                <a:lnTo>
                  <a:pt x="877" y="1947"/>
                </a:lnTo>
                <a:lnTo>
                  <a:pt x="1069" y="1947"/>
                </a:lnTo>
                <a:lnTo>
                  <a:pt x="1107" y="1742"/>
                </a:lnTo>
                <a:lnTo>
                  <a:pt x="1107" y="1742"/>
                </a:lnTo>
                <a:lnTo>
                  <a:pt x="1150" y="1733"/>
                </a:lnTo>
                <a:lnTo>
                  <a:pt x="1193" y="1722"/>
                </a:lnTo>
                <a:lnTo>
                  <a:pt x="1233" y="1709"/>
                </a:lnTo>
                <a:lnTo>
                  <a:pt x="1273" y="1693"/>
                </a:lnTo>
                <a:lnTo>
                  <a:pt x="1312" y="1676"/>
                </a:lnTo>
                <a:lnTo>
                  <a:pt x="1350" y="1656"/>
                </a:lnTo>
                <a:lnTo>
                  <a:pt x="1385" y="1636"/>
                </a:lnTo>
                <a:lnTo>
                  <a:pt x="1421" y="1612"/>
                </a:lnTo>
                <a:lnTo>
                  <a:pt x="1593" y="1729"/>
                </a:lnTo>
                <a:lnTo>
                  <a:pt x="1728" y="1593"/>
                </a:lnTo>
                <a:lnTo>
                  <a:pt x="1611" y="1422"/>
                </a:lnTo>
                <a:lnTo>
                  <a:pt x="1611" y="1422"/>
                </a:lnTo>
                <a:lnTo>
                  <a:pt x="1635" y="1386"/>
                </a:lnTo>
                <a:lnTo>
                  <a:pt x="1657" y="1350"/>
                </a:lnTo>
                <a:lnTo>
                  <a:pt x="1676" y="1312"/>
                </a:lnTo>
                <a:lnTo>
                  <a:pt x="1693" y="1273"/>
                </a:lnTo>
                <a:lnTo>
                  <a:pt x="1709" y="1233"/>
                </a:lnTo>
                <a:lnTo>
                  <a:pt x="1722" y="1192"/>
                </a:lnTo>
                <a:lnTo>
                  <a:pt x="1733" y="1151"/>
                </a:lnTo>
                <a:lnTo>
                  <a:pt x="1741" y="1108"/>
                </a:lnTo>
                <a:lnTo>
                  <a:pt x="1946" y="1069"/>
                </a:lnTo>
                <a:lnTo>
                  <a:pt x="1946" y="876"/>
                </a:lnTo>
                <a:lnTo>
                  <a:pt x="1741" y="839"/>
                </a:lnTo>
                <a:close/>
                <a:moveTo>
                  <a:pt x="974" y="1622"/>
                </a:moveTo>
                <a:lnTo>
                  <a:pt x="974" y="1622"/>
                </a:lnTo>
                <a:lnTo>
                  <a:pt x="939" y="1622"/>
                </a:lnTo>
                <a:lnTo>
                  <a:pt x="906" y="1619"/>
                </a:lnTo>
                <a:lnTo>
                  <a:pt x="875" y="1615"/>
                </a:lnTo>
                <a:lnTo>
                  <a:pt x="843" y="1609"/>
                </a:lnTo>
                <a:lnTo>
                  <a:pt x="811" y="1603"/>
                </a:lnTo>
                <a:lnTo>
                  <a:pt x="781" y="1593"/>
                </a:lnTo>
                <a:lnTo>
                  <a:pt x="751" y="1583"/>
                </a:lnTo>
                <a:lnTo>
                  <a:pt x="720" y="1571"/>
                </a:lnTo>
                <a:lnTo>
                  <a:pt x="691" y="1558"/>
                </a:lnTo>
                <a:lnTo>
                  <a:pt x="664" y="1543"/>
                </a:lnTo>
                <a:lnTo>
                  <a:pt x="636" y="1528"/>
                </a:lnTo>
                <a:lnTo>
                  <a:pt x="610" y="1512"/>
                </a:lnTo>
                <a:lnTo>
                  <a:pt x="585" y="1494"/>
                </a:lnTo>
                <a:lnTo>
                  <a:pt x="561" y="1474"/>
                </a:lnTo>
                <a:lnTo>
                  <a:pt x="537" y="1454"/>
                </a:lnTo>
                <a:lnTo>
                  <a:pt x="515" y="1432"/>
                </a:lnTo>
                <a:lnTo>
                  <a:pt x="493" y="1410"/>
                </a:lnTo>
                <a:lnTo>
                  <a:pt x="472" y="1386"/>
                </a:lnTo>
                <a:lnTo>
                  <a:pt x="453" y="1361"/>
                </a:lnTo>
                <a:lnTo>
                  <a:pt x="435" y="1335"/>
                </a:lnTo>
                <a:lnTo>
                  <a:pt x="419" y="1309"/>
                </a:lnTo>
                <a:lnTo>
                  <a:pt x="402" y="1283"/>
                </a:lnTo>
                <a:lnTo>
                  <a:pt x="388" y="1254"/>
                </a:lnTo>
                <a:lnTo>
                  <a:pt x="375" y="1225"/>
                </a:lnTo>
                <a:lnTo>
                  <a:pt x="364" y="1196"/>
                </a:lnTo>
                <a:lnTo>
                  <a:pt x="354" y="1166"/>
                </a:lnTo>
                <a:lnTo>
                  <a:pt x="344" y="1135"/>
                </a:lnTo>
                <a:lnTo>
                  <a:pt x="337" y="1104"/>
                </a:lnTo>
                <a:lnTo>
                  <a:pt x="332" y="1072"/>
                </a:lnTo>
                <a:lnTo>
                  <a:pt x="328" y="1039"/>
                </a:lnTo>
                <a:lnTo>
                  <a:pt x="325" y="1006"/>
                </a:lnTo>
                <a:lnTo>
                  <a:pt x="324" y="973"/>
                </a:lnTo>
                <a:lnTo>
                  <a:pt x="324" y="973"/>
                </a:lnTo>
                <a:lnTo>
                  <a:pt x="325" y="940"/>
                </a:lnTo>
                <a:lnTo>
                  <a:pt x="328" y="907"/>
                </a:lnTo>
                <a:lnTo>
                  <a:pt x="332" y="875"/>
                </a:lnTo>
                <a:lnTo>
                  <a:pt x="337" y="842"/>
                </a:lnTo>
                <a:lnTo>
                  <a:pt x="344" y="812"/>
                </a:lnTo>
                <a:lnTo>
                  <a:pt x="354" y="780"/>
                </a:lnTo>
                <a:lnTo>
                  <a:pt x="364" y="750"/>
                </a:lnTo>
                <a:lnTo>
                  <a:pt x="375" y="721"/>
                </a:lnTo>
                <a:lnTo>
                  <a:pt x="388" y="692"/>
                </a:lnTo>
                <a:lnTo>
                  <a:pt x="402" y="664"/>
                </a:lnTo>
                <a:lnTo>
                  <a:pt x="419" y="637"/>
                </a:lnTo>
                <a:lnTo>
                  <a:pt x="435" y="610"/>
                </a:lnTo>
                <a:lnTo>
                  <a:pt x="453" y="586"/>
                </a:lnTo>
                <a:lnTo>
                  <a:pt x="472" y="561"/>
                </a:lnTo>
                <a:lnTo>
                  <a:pt x="493" y="537"/>
                </a:lnTo>
                <a:lnTo>
                  <a:pt x="515" y="514"/>
                </a:lnTo>
                <a:lnTo>
                  <a:pt x="537" y="493"/>
                </a:lnTo>
                <a:lnTo>
                  <a:pt x="561" y="473"/>
                </a:lnTo>
                <a:lnTo>
                  <a:pt x="585" y="453"/>
                </a:lnTo>
                <a:lnTo>
                  <a:pt x="610" y="435"/>
                </a:lnTo>
                <a:lnTo>
                  <a:pt x="636" y="418"/>
                </a:lnTo>
                <a:lnTo>
                  <a:pt x="664" y="402"/>
                </a:lnTo>
                <a:lnTo>
                  <a:pt x="691" y="389"/>
                </a:lnTo>
                <a:lnTo>
                  <a:pt x="720" y="375"/>
                </a:lnTo>
                <a:lnTo>
                  <a:pt x="751" y="364"/>
                </a:lnTo>
                <a:lnTo>
                  <a:pt x="781" y="353"/>
                </a:lnTo>
                <a:lnTo>
                  <a:pt x="811" y="344"/>
                </a:lnTo>
                <a:lnTo>
                  <a:pt x="843" y="338"/>
                </a:lnTo>
                <a:lnTo>
                  <a:pt x="875" y="332"/>
                </a:lnTo>
                <a:lnTo>
                  <a:pt x="906" y="328"/>
                </a:lnTo>
                <a:lnTo>
                  <a:pt x="939" y="325"/>
                </a:lnTo>
                <a:lnTo>
                  <a:pt x="974" y="324"/>
                </a:lnTo>
                <a:lnTo>
                  <a:pt x="974" y="324"/>
                </a:lnTo>
                <a:lnTo>
                  <a:pt x="1007" y="325"/>
                </a:lnTo>
                <a:lnTo>
                  <a:pt x="1040" y="328"/>
                </a:lnTo>
                <a:lnTo>
                  <a:pt x="1071" y="332"/>
                </a:lnTo>
                <a:lnTo>
                  <a:pt x="1103" y="338"/>
                </a:lnTo>
                <a:lnTo>
                  <a:pt x="1135" y="344"/>
                </a:lnTo>
                <a:lnTo>
                  <a:pt x="1165" y="353"/>
                </a:lnTo>
                <a:lnTo>
                  <a:pt x="1195" y="364"/>
                </a:lnTo>
                <a:lnTo>
                  <a:pt x="1226" y="375"/>
                </a:lnTo>
                <a:lnTo>
                  <a:pt x="1255" y="389"/>
                </a:lnTo>
                <a:lnTo>
                  <a:pt x="1282" y="402"/>
                </a:lnTo>
                <a:lnTo>
                  <a:pt x="1310" y="418"/>
                </a:lnTo>
                <a:lnTo>
                  <a:pt x="1336" y="435"/>
                </a:lnTo>
                <a:lnTo>
                  <a:pt x="1361" y="453"/>
                </a:lnTo>
                <a:lnTo>
                  <a:pt x="1385" y="473"/>
                </a:lnTo>
                <a:lnTo>
                  <a:pt x="1409" y="493"/>
                </a:lnTo>
                <a:lnTo>
                  <a:pt x="1431" y="514"/>
                </a:lnTo>
                <a:lnTo>
                  <a:pt x="1453" y="537"/>
                </a:lnTo>
                <a:lnTo>
                  <a:pt x="1474" y="561"/>
                </a:lnTo>
                <a:lnTo>
                  <a:pt x="1493" y="586"/>
                </a:lnTo>
                <a:lnTo>
                  <a:pt x="1511" y="610"/>
                </a:lnTo>
                <a:lnTo>
                  <a:pt x="1527" y="637"/>
                </a:lnTo>
                <a:lnTo>
                  <a:pt x="1544" y="664"/>
                </a:lnTo>
                <a:lnTo>
                  <a:pt x="1558" y="692"/>
                </a:lnTo>
                <a:lnTo>
                  <a:pt x="1571" y="721"/>
                </a:lnTo>
                <a:lnTo>
                  <a:pt x="1582" y="750"/>
                </a:lnTo>
                <a:lnTo>
                  <a:pt x="1592" y="780"/>
                </a:lnTo>
                <a:lnTo>
                  <a:pt x="1602" y="812"/>
                </a:lnTo>
                <a:lnTo>
                  <a:pt x="1609" y="842"/>
                </a:lnTo>
                <a:lnTo>
                  <a:pt x="1614" y="875"/>
                </a:lnTo>
                <a:lnTo>
                  <a:pt x="1618" y="907"/>
                </a:lnTo>
                <a:lnTo>
                  <a:pt x="1621" y="940"/>
                </a:lnTo>
                <a:lnTo>
                  <a:pt x="1622" y="973"/>
                </a:lnTo>
                <a:lnTo>
                  <a:pt x="1622" y="973"/>
                </a:lnTo>
                <a:lnTo>
                  <a:pt x="1621" y="1006"/>
                </a:lnTo>
                <a:lnTo>
                  <a:pt x="1618" y="1039"/>
                </a:lnTo>
                <a:lnTo>
                  <a:pt x="1614" y="1072"/>
                </a:lnTo>
                <a:lnTo>
                  <a:pt x="1609" y="1104"/>
                </a:lnTo>
                <a:lnTo>
                  <a:pt x="1602" y="1135"/>
                </a:lnTo>
                <a:lnTo>
                  <a:pt x="1592" y="1166"/>
                </a:lnTo>
                <a:lnTo>
                  <a:pt x="1582" y="1196"/>
                </a:lnTo>
                <a:lnTo>
                  <a:pt x="1571" y="1225"/>
                </a:lnTo>
                <a:lnTo>
                  <a:pt x="1558" y="1254"/>
                </a:lnTo>
                <a:lnTo>
                  <a:pt x="1544" y="1283"/>
                </a:lnTo>
                <a:lnTo>
                  <a:pt x="1527" y="1309"/>
                </a:lnTo>
                <a:lnTo>
                  <a:pt x="1511" y="1335"/>
                </a:lnTo>
                <a:lnTo>
                  <a:pt x="1493" y="1361"/>
                </a:lnTo>
                <a:lnTo>
                  <a:pt x="1474" y="1386"/>
                </a:lnTo>
                <a:lnTo>
                  <a:pt x="1453" y="1410"/>
                </a:lnTo>
                <a:lnTo>
                  <a:pt x="1431" y="1432"/>
                </a:lnTo>
                <a:lnTo>
                  <a:pt x="1409" y="1454"/>
                </a:lnTo>
                <a:lnTo>
                  <a:pt x="1385" y="1474"/>
                </a:lnTo>
                <a:lnTo>
                  <a:pt x="1361" y="1494"/>
                </a:lnTo>
                <a:lnTo>
                  <a:pt x="1336" y="1512"/>
                </a:lnTo>
                <a:lnTo>
                  <a:pt x="1310" y="1528"/>
                </a:lnTo>
                <a:lnTo>
                  <a:pt x="1282" y="1543"/>
                </a:lnTo>
                <a:lnTo>
                  <a:pt x="1255" y="1558"/>
                </a:lnTo>
                <a:lnTo>
                  <a:pt x="1226" y="1571"/>
                </a:lnTo>
                <a:lnTo>
                  <a:pt x="1195" y="1583"/>
                </a:lnTo>
                <a:lnTo>
                  <a:pt x="1165" y="1593"/>
                </a:lnTo>
                <a:lnTo>
                  <a:pt x="1135" y="1603"/>
                </a:lnTo>
                <a:lnTo>
                  <a:pt x="1103" y="1609"/>
                </a:lnTo>
                <a:lnTo>
                  <a:pt x="1071" y="1615"/>
                </a:lnTo>
                <a:lnTo>
                  <a:pt x="1040" y="1619"/>
                </a:lnTo>
                <a:lnTo>
                  <a:pt x="1007" y="1622"/>
                </a:lnTo>
                <a:lnTo>
                  <a:pt x="974" y="1622"/>
                </a:lnTo>
                <a:lnTo>
                  <a:pt x="974" y="1622"/>
                </a:lnTo>
                <a:close/>
              </a:path>
            </a:pathLst>
          </a:custGeom>
          <a:solidFill>
            <a:srgbClr val="BFBFB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" name="Freeform 5"/>
          <p:cNvSpPr>
            <a:spLocks noEditPoints="1"/>
          </p:cNvSpPr>
          <p:nvPr/>
        </p:nvSpPr>
        <p:spPr bwMode="auto">
          <a:xfrm>
            <a:off x="4795623" y="1599458"/>
            <a:ext cx="1351394" cy="1352087"/>
          </a:xfrm>
          <a:custGeom>
            <a:avLst/>
            <a:gdLst>
              <a:gd name="T0" fmla="*/ 1722 w 1946"/>
              <a:gd name="T1" fmla="*/ 754 h 1947"/>
              <a:gd name="T2" fmla="*/ 1657 w 1946"/>
              <a:gd name="T3" fmla="*/ 597 h 1947"/>
              <a:gd name="T4" fmla="*/ 1593 w 1946"/>
              <a:gd name="T5" fmla="*/ 216 h 1947"/>
              <a:gd name="T6" fmla="*/ 1350 w 1946"/>
              <a:gd name="T7" fmla="*/ 289 h 1947"/>
              <a:gd name="T8" fmla="*/ 1193 w 1946"/>
              <a:gd name="T9" fmla="*/ 225 h 1947"/>
              <a:gd name="T10" fmla="*/ 877 w 1946"/>
              <a:gd name="T11" fmla="*/ 0 h 1947"/>
              <a:gd name="T12" fmla="*/ 753 w 1946"/>
              <a:gd name="T13" fmla="*/ 225 h 1947"/>
              <a:gd name="T14" fmla="*/ 596 w 1946"/>
              <a:gd name="T15" fmla="*/ 289 h 1947"/>
              <a:gd name="T16" fmla="*/ 218 w 1946"/>
              <a:gd name="T17" fmla="*/ 353 h 1947"/>
              <a:gd name="T18" fmla="*/ 289 w 1946"/>
              <a:gd name="T19" fmla="*/ 597 h 1947"/>
              <a:gd name="T20" fmla="*/ 224 w 1946"/>
              <a:gd name="T21" fmla="*/ 754 h 1947"/>
              <a:gd name="T22" fmla="*/ 0 w 1946"/>
              <a:gd name="T23" fmla="*/ 1069 h 1947"/>
              <a:gd name="T24" fmla="*/ 224 w 1946"/>
              <a:gd name="T25" fmla="*/ 1192 h 1947"/>
              <a:gd name="T26" fmla="*/ 289 w 1946"/>
              <a:gd name="T27" fmla="*/ 1350 h 1947"/>
              <a:gd name="T28" fmla="*/ 353 w 1946"/>
              <a:gd name="T29" fmla="*/ 1729 h 1947"/>
              <a:gd name="T30" fmla="*/ 596 w 1946"/>
              <a:gd name="T31" fmla="*/ 1656 h 1947"/>
              <a:gd name="T32" fmla="*/ 753 w 1946"/>
              <a:gd name="T33" fmla="*/ 1722 h 1947"/>
              <a:gd name="T34" fmla="*/ 1069 w 1946"/>
              <a:gd name="T35" fmla="*/ 1947 h 1947"/>
              <a:gd name="T36" fmla="*/ 1193 w 1946"/>
              <a:gd name="T37" fmla="*/ 1722 h 1947"/>
              <a:gd name="T38" fmla="*/ 1350 w 1946"/>
              <a:gd name="T39" fmla="*/ 1656 h 1947"/>
              <a:gd name="T40" fmla="*/ 1728 w 1946"/>
              <a:gd name="T41" fmla="*/ 1593 h 1947"/>
              <a:gd name="T42" fmla="*/ 1657 w 1946"/>
              <a:gd name="T43" fmla="*/ 1350 h 1947"/>
              <a:gd name="T44" fmla="*/ 1722 w 1946"/>
              <a:gd name="T45" fmla="*/ 1192 h 1947"/>
              <a:gd name="T46" fmla="*/ 1946 w 1946"/>
              <a:gd name="T47" fmla="*/ 876 h 1947"/>
              <a:gd name="T48" fmla="*/ 939 w 1946"/>
              <a:gd name="T49" fmla="*/ 1622 h 1947"/>
              <a:gd name="T50" fmla="*/ 811 w 1946"/>
              <a:gd name="T51" fmla="*/ 1603 h 1947"/>
              <a:gd name="T52" fmla="*/ 691 w 1946"/>
              <a:gd name="T53" fmla="*/ 1558 h 1947"/>
              <a:gd name="T54" fmla="*/ 585 w 1946"/>
              <a:gd name="T55" fmla="*/ 1494 h 1947"/>
              <a:gd name="T56" fmla="*/ 493 w 1946"/>
              <a:gd name="T57" fmla="*/ 1410 h 1947"/>
              <a:gd name="T58" fmla="*/ 419 w 1946"/>
              <a:gd name="T59" fmla="*/ 1309 h 1947"/>
              <a:gd name="T60" fmla="*/ 364 w 1946"/>
              <a:gd name="T61" fmla="*/ 1196 h 1947"/>
              <a:gd name="T62" fmla="*/ 332 w 1946"/>
              <a:gd name="T63" fmla="*/ 1072 h 1947"/>
              <a:gd name="T64" fmla="*/ 324 w 1946"/>
              <a:gd name="T65" fmla="*/ 973 h 1947"/>
              <a:gd name="T66" fmla="*/ 337 w 1946"/>
              <a:gd name="T67" fmla="*/ 842 h 1947"/>
              <a:gd name="T68" fmla="*/ 375 w 1946"/>
              <a:gd name="T69" fmla="*/ 721 h 1947"/>
              <a:gd name="T70" fmla="*/ 435 w 1946"/>
              <a:gd name="T71" fmla="*/ 610 h 1947"/>
              <a:gd name="T72" fmla="*/ 515 w 1946"/>
              <a:gd name="T73" fmla="*/ 514 h 1947"/>
              <a:gd name="T74" fmla="*/ 610 w 1946"/>
              <a:gd name="T75" fmla="*/ 435 h 1947"/>
              <a:gd name="T76" fmla="*/ 720 w 1946"/>
              <a:gd name="T77" fmla="*/ 375 h 1947"/>
              <a:gd name="T78" fmla="*/ 843 w 1946"/>
              <a:gd name="T79" fmla="*/ 338 h 1947"/>
              <a:gd name="T80" fmla="*/ 974 w 1946"/>
              <a:gd name="T81" fmla="*/ 324 h 1947"/>
              <a:gd name="T82" fmla="*/ 1071 w 1946"/>
              <a:gd name="T83" fmla="*/ 332 h 1947"/>
              <a:gd name="T84" fmla="*/ 1195 w 1946"/>
              <a:gd name="T85" fmla="*/ 364 h 1947"/>
              <a:gd name="T86" fmla="*/ 1310 w 1946"/>
              <a:gd name="T87" fmla="*/ 418 h 1947"/>
              <a:gd name="T88" fmla="*/ 1409 w 1946"/>
              <a:gd name="T89" fmla="*/ 493 h 1947"/>
              <a:gd name="T90" fmla="*/ 1493 w 1946"/>
              <a:gd name="T91" fmla="*/ 586 h 1947"/>
              <a:gd name="T92" fmla="*/ 1558 w 1946"/>
              <a:gd name="T93" fmla="*/ 692 h 1947"/>
              <a:gd name="T94" fmla="*/ 1602 w 1946"/>
              <a:gd name="T95" fmla="*/ 812 h 1947"/>
              <a:gd name="T96" fmla="*/ 1621 w 1946"/>
              <a:gd name="T97" fmla="*/ 940 h 1947"/>
              <a:gd name="T98" fmla="*/ 1618 w 1946"/>
              <a:gd name="T99" fmla="*/ 1039 h 1947"/>
              <a:gd name="T100" fmla="*/ 1592 w 1946"/>
              <a:gd name="T101" fmla="*/ 1166 h 1947"/>
              <a:gd name="T102" fmla="*/ 1544 w 1946"/>
              <a:gd name="T103" fmla="*/ 1283 h 1947"/>
              <a:gd name="T104" fmla="*/ 1474 w 1946"/>
              <a:gd name="T105" fmla="*/ 1386 h 1947"/>
              <a:gd name="T106" fmla="*/ 1385 w 1946"/>
              <a:gd name="T107" fmla="*/ 1474 h 1947"/>
              <a:gd name="T108" fmla="*/ 1282 w 1946"/>
              <a:gd name="T109" fmla="*/ 1543 h 1947"/>
              <a:gd name="T110" fmla="*/ 1165 w 1946"/>
              <a:gd name="T111" fmla="*/ 1593 h 1947"/>
              <a:gd name="T112" fmla="*/ 1040 w 1946"/>
              <a:gd name="T113" fmla="*/ 1619 h 19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946" h="1947">
                <a:moveTo>
                  <a:pt x="1741" y="839"/>
                </a:moveTo>
                <a:lnTo>
                  <a:pt x="1741" y="839"/>
                </a:lnTo>
                <a:lnTo>
                  <a:pt x="1733" y="796"/>
                </a:lnTo>
                <a:lnTo>
                  <a:pt x="1722" y="754"/>
                </a:lnTo>
                <a:lnTo>
                  <a:pt x="1709" y="712"/>
                </a:lnTo>
                <a:lnTo>
                  <a:pt x="1693" y="672"/>
                </a:lnTo>
                <a:lnTo>
                  <a:pt x="1676" y="634"/>
                </a:lnTo>
                <a:lnTo>
                  <a:pt x="1657" y="597"/>
                </a:lnTo>
                <a:lnTo>
                  <a:pt x="1635" y="559"/>
                </a:lnTo>
                <a:lnTo>
                  <a:pt x="1611" y="525"/>
                </a:lnTo>
                <a:lnTo>
                  <a:pt x="1728" y="353"/>
                </a:lnTo>
                <a:lnTo>
                  <a:pt x="1593" y="216"/>
                </a:lnTo>
                <a:lnTo>
                  <a:pt x="1421" y="335"/>
                </a:lnTo>
                <a:lnTo>
                  <a:pt x="1421" y="335"/>
                </a:lnTo>
                <a:lnTo>
                  <a:pt x="1385" y="311"/>
                </a:lnTo>
                <a:lnTo>
                  <a:pt x="1350" y="289"/>
                </a:lnTo>
                <a:lnTo>
                  <a:pt x="1312" y="270"/>
                </a:lnTo>
                <a:lnTo>
                  <a:pt x="1273" y="252"/>
                </a:lnTo>
                <a:lnTo>
                  <a:pt x="1233" y="237"/>
                </a:lnTo>
                <a:lnTo>
                  <a:pt x="1193" y="225"/>
                </a:lnTo>
                <a:lnTo>
                  <a:pt x="1150" y="214"/>
                </a:lnTo>
                <a:lnTo>
                  <a:pt x="1107" y="204"/>
                </a:lnTo>
                <a:lnTo>
                  <a:pt x="1069" y="0"/>
                </a:lnTo>
                <a:lnTo>
                  <a:pt x="877" y="0"/>
                </a:lnTo>
                <a:lnTo>
                  <a:pt x="839" y="204"/>
                </a:lnTo>
                <a:lnTo>
                  <a:pt x="839" y="204"/>
                </a:lnTo>
                <a:lnTo>
                  <a:pt x="796" y="214"/>
                </a:lnTo>
                <a:lnTo>
                  <a:pt x="753" y="225"/>
                </a:lnTo>
                <a:lnTo>
                  <a:pt x="713" y="237"/>
                </a:lnTo>
                <a:lnTo>
                  <a:pt x="673" y="252"/>
                </a:lnTo>
                <a:lnTo>
                  <a:pt x="634" y="270"/>
                </a:lnTo>
                <a:lnTo>
                  <a:pt x="596" y="289"/>
                </a:lnTo>
                <a:lnTo>
                  <a:pt x="561" y="311"/>
                </a:lnTo>
                <a:lnTo>
                  <a:pt x="525" y="335"/>
                </a:lnTo>
                <a:lnTo>
                  <a:pt x="353" y="216"/>
                </a:lnTo>
                <a:lnTo>
                  <a:pt x="218" y="353"/>
                </a:lnTo>
                <a:lnTo>
                  <a:pt x="335" y="525"/>
                </a:lnTo>
                <a:lnTo>
                  <a:pt x="335" y="525"/>
                </a:lnTo>
                <a:lnTo>
                  <a:pt x="311" y="559"/>
                </a:lnTo>
                <a:lnTo>
                  <a:pt x="289" y="597"/>
                </a:lnTo>
                <a:lnTo>
                  <a:pt x="270" y="634"/>
                </a:lnTo>
                <a:lnTo>
                  <a:pt x="253" y="672"/>
                </a:lnTo>
                <a:lnTo>
                  <a:pt x="237" y="712"/>
                </a:lnTo>
                <a:lnTo>
                  <a:pt x="224" y="754"/>
                </a:lnTo>
                <a:lnTo>
                  <a:pt x="213" y="796"/>
                </a:lnTo>
                <a:lnTo>
                  <a:pt x="205" y="839"/>
                </a:lnTo>
                <a:lnTo>
                  <a:pt x="0" y="876"/>
                </a:lnTo>
                <a:lnTo>
                  <a:pt x="0" y="1069"/>
                </a:lnTo>
                <a:lnTo>
                  <a:pt x="205" y="1108"/>
                </a:lnTo>
                <a:lnTo>
                  <a:pt x="205" y="1108"/>
                </a:lnTo>
                <a:lnTo>
                  <a:pt x="213" y="1151"/>
                </a:lnTo>
                <a:lnTo>
                  <a:pt x="224" y="1192"/>
                </a:lnTo>
                <a:lnTo>
                  <a:pt x="237" y="1233"/>
                </a:lnTo>
                <a:lnTo>
                  <a:pt x="253" y="1273"/>
                </a:lnTo>
                <a:lnTo>
                  <a:pt x="270" y="1312"/>
                </a:lnTo>
                <a:lnTo>
                  <a:pt x="289" y="1350"/>
                </a:lnTo>
                <a:lnTo>
                  <a:pt x="311" y="1386"/>
                </a:lnTo>
                <a:lnTo>
                  <a:pt x="335" y="1422"/>
                </a:lnTo>
                <a:lnTo>
                  <a:pt x="218" y="1593"/>
                </a:lnTo>
                <a:lnTo>
                  <a:pt x="353" y="1729"/>
                </a:lnTo>
                <a:lnTo>
                  <a:pt x="525" y="1612"/>
                </a:lnTo>
                <a:lnTo>
                  <a:pt x="525" y="1612"/>
                </a:lnTo>
                <a:lnTo>
                  <a:pt x="561" y="1636"/>
                </a:lnTo>
                <a:lnTo>
                  <a:pt x="596" y="1656"/>
                </a:lnTo>
                <a:lnTo>
                  <a:pt x="634" y="1676"/>
                </a:lnTo>
                <a:lnTo>
                  <a:pt x="673" y="1693"/>
                </a:lnTo>
                <a:lnTo>
                  <a:pt x="713" y="1709"/>
                </a:lnTo>
                <a:lnTo>
                  <a:pt x="753" y="1722"/>
                </a:lnTo>
                <a:lnTo>
                  <a:pt x="796" y="1733"/>
                </a:lnTo>
                <a:lnTo>
                  <a:pt x="839" y="1742"/>
                </a:lnTo>
                <a:lnTo>
                  <a:pt x="877" y="1947"/>
                </a:lnTo>
                <a:lnTo>
                  <a:pt x="1069" y="1947"/>
                </a:lnTo>
                <a:lnTo>
                  <a:pt x="1107" y="1742"/>
                </a:lnTo>
                <a:lnTo>
                  <a:pt x="1107" y="1742"/>
                </a:lnTo>
                <a:lnTo>
                  <a:pt x="1150" y="1733"/>
                </a:lnTo>
                <a:lnTo>
                  <a:pt x="1193" y="1722"/>
                </a:lnTo>
                <a:lnTo>
                  <a:pt x="1233" y="1709"/>
                </a:lnTo>
                <a:lnTo>
                  <a:pt x="1273" y="1693"/>
                </a:lnTo>
                <a:lnTo>
                  <a:pt x="1312" y="1676"/>
                </a:lnTo>
                <a:lnTo>
                  <a:pt x="1350" y="1656"/>
                </a:lnTo>
                <a:lnTo>
                  <a:pt x="1385" y="1636"/>
                </a:lnTo>
                <a:lnTo>
                  <a:pt x="1421" y="1612"/>
                </a:lnTo>
                <a:lnTo>
                  <a:pt x="1593" y="1729"/>
                </a:lnTo>
                <a:lnTo>
                  <a:pt x="1728" y="1593"/>
                </a:lnTo>
                <a:lnTo>
                  <a:pt x="1611" y="1422"/>
                </a:lnTo>
                <a:lnTo>
                  <a:pt x="1611" y="1422"/>
                </a:lnTo>
                <a:lnTo>
                  <a:pt x="1635" y="1386"/>
                </a:lnTo>
                <a:lnTo>
                  <a:pt x="1657" y="1350"/>
                </a:lnTo>
                <a:lnTo>
                  <a:pt x="1676" y="1312"/>
                </a:lnTo>
                <a:lnTo>
                  <a:pt x="1693" y="1273"/>
                </a:lnTo>
                <a:lnTo>
                  <a:pt x="1709" y="1233"/>
                </a:lnTo>
                <a:lnTo>
                  <a:pt x="1722" y="1192"/>
                </a:lnTo>
                <a:lnTo>
                  <a:pt x="1733" y="1151"/>
                </a:lnTo>
                <a:lnTo>
                  <a:pt x="1741" y="1108"/>
                </a:lnTo>
                <a:lnTo>
                  <a:pt x="1946" y="1069"/>
                </a:lnTo>
                <a:lnTo>
                  <a:pt x="1946" y="876"/>
                </a:lnTo>
                <a:lnTo>
                  <a:pt x="1741" y="839"/>
                </a:lnTo>
                <a:close/>
                <a:moveTo>
                  <a:pt x="974" y="1622"/>
                </a:moveTo>
                <a:lnTo>
                  <a:pt x="974" y="1622"/>
                </a:lnTo>
                <a:lnTo>
                  <a:pt x="939" y="1622"/>
                </a:lnTo>
                <a:lnTo>
                  <a:pt x="906" y="1619"/>
                </a:lnTo>
                <a:lnTo>
                  <a:pt x="875" y="1615"/>
                </a:lnTo>
                <a:lnTo>
                  <a:pt x="843" y="1609"/>
                </a:lnTo>
                <a:lnTo>
                  <a:pt x="811" y="1603"/>
                </a:lnTo>
                <a:lnTo>
                  <a:pt x="781" y="1593"/>
                </a:lnTo>
                <a:lnTo>
                  <a:pt x="751" y="1583"/>
                </a:lnTo>
                <a:lnTo>
                  <a:pt x="720" y="1571"/>
                </a:lnTo>
                <a:lnTo>
                  <a:pt x="691" y="1558"/>
                </a:lnTo>
                <a:lnTo>
                  <a:pt x="664" y="1543"/>
                </a:lnTo>
                <a:lnTo>
                  <a:pt x="636" y="1528"/>
                </a:lnTo>
                <a:lnTo>
                  <a:pt x="610" y="1512"/>
                </a:lnTo>
                <a:lnTo>
                  <a:pt x="585" y="1494"/>
                </a:lnTo>
                <a:lnTo>
                  <a:pt x="561" y="1474"/>
                </a:lnTo>
                <a:lnTo>
                  <a:pt x="537" y="1454"/>
                </a:lnTo>
                <a:lnTo>
                  <a:pt x="515" y="1432"/>
                </a:lnTo>
                <a:lnTo>
                  <a:pt x="493" y="1410"/>
                </a:lnTo>
                <a:lnTo>
                  <a:pt x="472" y="1386"/>
                </a:lnTo>
                <a:lnTo>
                  <a:pt x="453" y="1361"/>
                </a:lnTo>
                <a:lnTo>
                  <a:pt x="435" y="1335"/>
                </a:lnTo>
                <a:lnTo>
                  <a:pt x="419" y="1309"/>
                </a:lnTo>
                <a:lnTo>
                  <a:pt x="402" y="1283"/>
                </a:lnTo>
                <a:lnTo>
                  <a:pt x="388" y="1254"/>
                </a:lnTo>
                <a:lnTo>
                  <a:pt x="375" y="1225"/>
                </a:lnTo>
                <a:lnTo>
                  <a:pt x="364" y="1196"/>
                </a:lnTo>
                <a:lnTo>
                  <a:pt x="354" y="1166"/>
                </a:lnTo>
                <a:lnTo>
                  <a:pt x="344" y="1135"/>
                </a:lnTo>
                <a:lnTo>
                  <a:pt x="337" y="1104"/>
                </a:lnTo>
                <a:lnTo>
                  <a:pt x="332" y="1072"/>
                </a:lnTo>
                <a:lnTo>
                  <a:pt x="328" y="1039"/>
                </a:lnTo>
                <a:lnTo>
                  <a:pt x="325" y="1006"/>
                </a:lnTo>
                <a:lnTo>
                  <a:pt x="324" y="973"/>
                </a:lnTo>
                <a:lnTo>
                  <a:pt x="324" y="973"/>
                </a:lnTo>
                <a:lnTo>
                  <a:pt x="325" y="940"/>
                </a:lnTo>
                <a:lnTo>
                  <a:pt x="328" y="907"/>
                </a:lnTo>
                <a:lnTo>
                  <a:pt x="332" y="875"/>
                </a:lnTo>
                <a:lnTo>
                  <a:pt x="337" y="842"/>
                </a:lnTo>
                <a:lnTo>
                  <a:pt x="344" y="812"/>
                </a:lnTo>
                <a:lnTo>
                  <a:pt x="354" y="780"/>
                </a:lnTo>
                <a:lnTo>
                  <a:pt x="364" y="750"/>
                </a:lnTo>
                <a:lnTo>
                  <a:pt x="375" y="721"/>
                </a:lnTo>
                <a:lnTo>
                  <a:pt x="388" y="692"/>
                </a:lnTo>
                <a:lnTo>
                  <a:pt x="402" y="664"/>
                </a:lnTo>
                <a:lnTo>
                  <a:pt x="419" y="637"/>
                </a:lnTo>
                <a:lnTo>
                  <a:pt x="435" y="610"/>
                </a:lnTo>
                <a:lnTo>
                  <a:pt x="453" y="586"/>
                </a:lnTo>
                <a:lnTo>
                  <a:pt x="472" y="561"/>
                </a:lnTo>
                <a:lnTo>
                  <a:pt x="493" y="537"/>
                </a:lnTo>
                <a:lnTo>
                  <a:pt x="515" y="514"/>
                </a:lnTo>
                <a:lnTo>
                  <a:pt x="537" y="493"/>
                </a:lnTo>
                <a:lnTo>
                  <a:pt x="561" y="473"/>
                </a:lnTo>
                <a:lnTo>
                  <a:pt x="585" y="453"/>
                </a:lnTo>
                <a:lnTo>
                  <a:pt x="610" y="435"/>
                </a:lnTo>
                <a:lnTo>
                  <a:pt x="636" y="418"/>
                </a:lnTo>
                <a:lnTo>
                  <a:pt x="664" y="402"/>
                </a:lnTo>
                <a:lnTo>
                  <a:pt x="691" y="389"/>
                </a:lnTo>
                <a:lnTo>
                  <a:pt x="720" y="375"/>
                </a:lnTo>
                <a:lnTo>
                  <a:pt x="751" y="364"/>
                </a:lnTo>
                <a:lnTo>
                  <a:pt x="781" y="353"/>
                </a:lnTo>
                <a:lnTo>
                  <a:pt x="811" y="344"/>
                </a:lnTo>
                <a:lnTo>
                  <a:pt x="843" y="338"/>
                </a:lnTo>
                <a:lnTo>
                  <a:pt x="875" y="332"/>
                </a:lnTo>
                <a:lnTo>
                  <a:pt x="906" y="328"/>
                </a:lnTo>
                <a:lnTo>
                  <a:pt x="939" y="325"/>
                </a:lnTo>
                <a:lnTo>
                  <a:pt x="974" y="324"/>
                </a:lnTo>
                <a:lnTo>
                  <a:pt x="974" y="324"/>
                </a:lnTo>
                <a:lnTo>
                  <a:pt x="1007" y="325"/>
                </a:lnTo>
                <a:lnTo>
                  <a:pt x="1040" y="328"/>
                </a:lnTo>
                <a:lnTo>
                  <a:pt x="1071" y="332"/>
                </a:lnTo>
                <a:lnTo>
                  <a:pt x="1103" y="338"/>
                </a:lnTo>
                <a:lnTo>
                  <a:pt x="1135" y="344"/>
                </a:lnTo>
                <a:lnTo>
                  <a:pt x="1165" y="353"/>
                </a:lnTo>
                <a:lnTo>
                  <a:pt x="1195" y="364"/>
                </a:lnTo>
                <a:lnTo>
                  <a:pt x="1226" y="375"/>
                </a:lnTo>
                <a:lnTo>
                  <a:pt x="1255" y="389"/>
                </a:lnTo>
                <a:lnTo>
                  <a:pt x="1282" y="402"/>
                </a:lnTo>
                <a:lnTo>
                  <a:pt x="1310" y="418"/>
                </a:lnTo>
                <a:lnTo>
                  <a:pt x="1336" y="435"/>
                </a:lnTo>
                <a:lnTo>
                  <a:pt x="1361" y="453"/>
                </a:lnTo>
                <a:lnTo>
                  <a:pt x="1385" y="473"/>
                </a:lnTo>
                <a:lnTo>
                  <a:pt x="1409" y="493"/>
                </a:lnTo>
                <a:lnTo>
                  <a:pt x="1431" y="514"/>
                </a:lnTo>
                <a:lnTo>
                  <a:pt x="1453" y="537"/>
                </a:lnTo>
                <a:lnTo>
                  <a:pt x="1474" y="561"/>
                </a:lnTo>
                <a:lnTo>
                  <a:pt x="1493" y="586"/>
                </a:lnTo>
                <a:lnTo>
                  <a:pt x="1511" y="610"/>
                </a:lnTo>
                <a:lnTo>
                  <a:pt x="1527" y="637"/>
                </a:lnTo>
                <a:lnTo>
                  <a:pt x="1544" y="664"/>
                </a:lnTo>
                <a:lnTo>
                  <a:pt x="1558" y="692"/>
                </a:lnTo>
                <a:lnTo>
                  <a:pt x="1571" y="721"/>
                </a:lnTo>
                <a:lnTo>
                  <a:pt x="1582" y="750"/>
                </a:lnTo>
                <a:lnTo>
                  <a:pt x="1592" y="780"/>
                </a:lnTo>
                <a:lnTo>
                  <a:pt x="1602" y="812"/>
                </a:lnTo>
                <a:lnTo>
                  <a:pt x="1609" y="842"/>
                </a:lnTo>
                <a:lnTo>
                  <a:pt x="1614" y="875"/>
                </a:lnTo>
                <a:lnTo>
                  <a:pt x="1618" y="907"/>
                </a:lnTo>
                <a:lnTo>
                  <a:pt x="1621" y="940"/>
                </a:lnTo>
                <a:lnTo>
                  <a:pt x="1622" y="973"/>
                </a:lnTo>
                <a:lnTo>
                  <a:pt x="1622" y="973"/>
                </a:lnTo>
                <a:lnTo>
                  <a:pt x="1621" y="1006"/>
                </a:lnTo>
                <a:lnTo>
                  <a:pt x="1618" y="1039"/>
                </a:lnTo>
                <a:lnTo>
                  <a:pt x="1614" y="1072"/>
                </a:lnTo>
                <a:lnTo>
                  <a:pt x="1609" y="1104"/>
                </a:lnTo>
                <a:lnTo>
                  <a:pt x="1602" y="1135"/>
                </a:lnTo>
                <a:lnTo>
                  <a:pt x="1592" y="1166"/>
                </a:lnTo>
                <a:lnTo>
                  <a:pt x="1582" y="1196"/>
                </a:lnTo>
                <a:lnTo>
                  <a:pt x="1571" y="1225"/>
                </a:lnTo>
                <a:lnTo>
                  <a:pt x="1558" y="1254"/>
                </a:lnTo>
                <a:lnTo>
                  <a:pt x="1544" y="1283"/>
                </a:lnTo>
                <a:lnTo>
                  <a:pt x="1527" y="1309"/>
                </a:lnTo>
                <a:lnTo>
                  <a:pt x="1511" y="1335"/>
                </a:lnTo>
                <a:lnTo>
                  <a:pt x="1493" y="1361"/>
                </a:lnTo>
                <a:lnTo>
                  <a:pt x="1474" y="1386"/>
                </a:lnTo>
                <a:lnTo>
                  <a:pt x="1453" y="1410"/>
                </a:lnTo>
                <a:lnTo>
                  <a:pt x="1431" y="1432"/>
                </a:lnTo>
                <a:lnTo>
                  <a:pt x="1409" y="1454"/>
                </a:lnTo>
                <a:lnTo>
                  <a:pt x="1385" y="1474"/>
                </a:lnTo>
                <a:lnTo>
                  <a:pt x="1361" y="1494"/>
                </a:lnTo>
                <a:lnTo>
                  <a:pt x="1336" y="1512"/>
                </a:lnTo>
                <a:lnTo>
                  <a:pt x="1310" y="1528"/>
                </a:lnTo>
                <a:lnTo>
                  <a:pt x="1282" y="1543"/>
                </a:lnTo>
                <a:lnTo>
                  <a:pt x="1255" y="1558"/>
                </a:lnTo>
                <a:lnTo>
                  <a:pt x="1226" y="1571"/>
                </a:lnTo>
                <a:lnTo>
                  <a:pt x="1195" y="1583"/>
                </a:lnTo>
                <a:lnTo>
                  <a:pt x="1165" y="1593"/>
                </a:lnTo>
                <a:lnTo>
                  <a:pt x="1135" y="1603"/>
                </a:lnTo>
                <a:lnTo>
                  <a:pt x="1103" y="1609"/>
                </a:lnTo>
                <a:lnTo>
                  <a:pt x="1071" y="1615"/>
                </a:lnTo>
                <a:lnTo>
                  <a:pt x="1040" y="1619"/>
                </a:lnTo>
                <a:lnTo>
                  <a:pt x="1007" y="1622"/>
                </a:lnTo>
                <a:lnTo>
                  <a:pt x="974" y="1622"/>
                </a:lnTo>
                <a:lnTo>
                  <a:pt x="974" y="1622"/>
                </a:lnTo>
                <a:close/>
              </a:path>
            </a:pathLst>
          </a:custGeom>
          <a:solidFill>
            <a:srgbClr val="BFBFB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" name="Freeform 5"/>
          <p:cNvSpPr>
            <a:spLocks noEditPoints="1"/>
          </p:cNvSpPr>
          <p:nvPr/>
        </p:nvSpPr>
        <p:spPr bwMode="auto">
          <a:xfrm>
            <a:off x="6212382" y="2012047"/>
            <a:ext cx="1351394" cy="1352087"/>
          </a:xfrm>
          <a:custGeom>
            <a:avLst/>
            <a:gdLst>
              <a:gd name="T0" fmla="*/ 1722 w 1946"/>
              <a:gd name="T1" fmla="*/ 754 h 1947"/>
              <a:gd name="T2" fmla="*/ 1657 w 1946"/>
              <a:gd name="T3" fmla="*/ 597 h 1947"/>
              <a:gd name="T4" fmla="*/ 1593 w 1946"/>
              <a:gd name="T5" fmla="*/ 216 h 1947"/>
              <a:gd name="T6" fmla="*/ 1350 w 1946"/>
              <a:gd name="T7" fmla="*/ 289 h 1947"/>
              <a:gd name="T8" fmla="*/ 1193 w 1946"/>
              <a:gd name="T9" fmla="*/ 225 h 1947"/>
              <a:gd name="T10" fmla="*/ 877 w 1946"/>
              <a:gd name="T11" fmla="*/ 0 h 1947"/>
              <a:gd name="T12" fmla="*/ 753 w 1946"/>
              <a:gd name="T13" fmla="*/ 225 h 1947"/>
              <a:gd name="T14" fmla="*/ 596 w 1946"/>
              <a:gd name="T15" fmla="*/ 289 h 1947"/>
              <a:gd name="T16" fmla="*/ 218 w 1946"/>
              <a:gd name="T17" fmla="*/ 353 h 1947"/>
              <a:gd name="T18" fmla="*/ 289 w 1946"/>
              <a:gd name="T19" fmla="*/ 597 h 1947"/>
              <a:gd name="T20" fmla="*/ 224 w 1946"/>
              <a:gd name="T21" fmla="*/ 754 h 1947"/>
              <a:gd name="T22" fmla="*/ 0 w 1946"/>
              <a:gd name="T23" fmla="*/ 1069 h 1947"/>
              <a:gd name="T24" fmla="*/ 224 w 1946"/>
              <a:gd name="T25" fmla="*/ 1192 h 1947"/>
              <a:gd name="T26" fmla="*/ 289 w 1946"/>
              <a:gd name="T27" fmla="*/ 1350 h 1947"/>
              <a:gd name="T28" fmla="*/ 353 w 1946"/>
              <a:gd name="T29" fmla="*/ 1729 h 1947"/>
              <a:gd name="T30" fmla="*/ 596 w 1946"/>
              <a:gd name="T31" fmla="*/ 1656 h 1947"/>
              <a:gd name="T32" fmla="*/ 753 w 1946"/>
              <a:gd name="T33" fmla="*/ 1722 h 1947"/>
              <a:gd name="T34" fmla="*/ 1069 w 1946"/>
              <a:gd name="T35" fmla="*/ 1947 h 1947"/>
              <a:gd name="T36" fmla="*/ 1193 w 1946"/>
              <a:gd name="T37" fmla="*/ 1722 h 1947"/>
              <a:gd name="T38" fmla="*/ 1350 w 1946"/>
              <a:gd name="T39" fmla="*/ 1656 h 1947"/>
              <a:gd name="T40" fmla="*/ 1728 w 1946"/>
              <a:gd name="T41" fmla="*/ 1593 h 1947"/>
              <a:gd name="T42" fmla="*/ 1657 w 1946"/>
              <a:gd name="T43" fmla="*/ 1350 h 1947"/>
              <a:gd name="T44" fmla="*/ 1722 w 1946"/>
              <a:gd name="T45" fmla="*/ 1192 h 1947"/>
              <a:gd name="T46" fmla="*/ 1946 w 1946"/>
              <a:gd name="T47" fmla="*/ 876 h 1947"/>
              <a:gd name="T48" fmla="*/ 939 w 1946"/>
              <a:gd name="T49" fmla="*/ 1622 h 1947"/>
              <a:gd name="T50" fmla="*/ 811 w 1946"/>
              <a:gd name="T51" fmla="*/ 1603 h 1947"/>
              <a:gd name="T52" fmla="*/ 691 w 1946"/>
              <a:gd name="T53" fmla="*/ 1558 h 1947"/>
              <a:gd name="T54" fmla="*/ 585 w 1946"/>
              <a:gd name="T55" fmla="*/ 1494 h 1947"/>
              <a:gd name="T56" fmla="*/ 493 w 1946"/>
              <a:gd name="T57" fmla="*/ 1410 h 1947"/>
              <a:gd name="T58" fmla="*/ 419 w 1946"/>
              <a:gd name="T59" fmla="*/ 1309 h 1947"/>
              <a:gd name="T60" fmla="*/ 364 w 1946"/>
              <a:gd name="T61" fmla="*/ 1196 h 1947"/>
              <a:gd name="T62" fmla="*/ 332 w 1946"/>
              <a:gd name="T63" fmla="*/ 1072 h 1947"/>
              <a:gd name="T64" fmla="*/ 324 w 1946"/>
              <a:gd name="T65" fmla="*/ 973 h 1947"/>
              <a:gd name="T66" fmla="*/ 337 w 1946"/>
              <a:gd name="T67" fmla="*/ 842 h 1947"/>
              <a:gd name="T68" fmla="*/ 375 w 1946"/>
              <a:gd name="T69" fmla="*/ 721 h 1947"/>
              <a:gd name="T70" fmla="*/ 435 w 1946"/>
              <a:gd name="T71" fmla="*/ 610 h 1947"/>
              <a:gd name="T72" fmla="*/ 515 w 1946"/>
              <a:gd name="T73" fmla="*/ 514 h 1947"/>
              <a:gd name="T74" fmla="*/ 610 w 1946"/>
              <a:gd name="T75" fmla="*/ 435 h 1947"/>
              <a:gd name="T76" fmla="*/ 720 w 1946"/>
              <a:gd name="T77" fmla="*/ 375 h 1947"/>
              <a:gd name="T78" fmla="*/ 843 w 1946"/>
              <a:gd name="T79" fmla="*/ 338 h 1947"/>
              <a:gd name="T80" fmla="*/ 974 w 1946"/>
              <a:gd name="T81" fmla="*/ 324 h 1947"/>
              <a:gd name="T82" fmla="*/ 1071 w 1946"/>
              <a:gd name="T83" fmla="*/ 332 h 1947"/>
              <a:gd name="T84" fmla="*/ 1195 w 1946"/>
              <a:gd name="T85" fmla="*/ 364 h 1947"/>
              <a:gd name="T86" fmla="*/ 1310 w 1946"/>
              <a:gd name="T87" fmla="*/ 418 h 1947"/>
              <a:gd name="T88" fmla="*/ 1409 w 1946"/>
              <a:gd name="T89" fmla="*/ 493 h 1947"/>
              <a:gd name="T90" fmla="*/ 1493 w 1946"/>
              <a:gd name="T91" fmla="*/ 586 h 1947"/>
              <a:gd name="T92" fmla="*/ 1558 w 1946"/>
              <a:gd name="T93" fmla="*/ 692 h 1947"/>
              <a:gd name="T94" fmla="*/ 1602 w 1946"/>
              <a:gd name="T95" fmla="*/ 812 h 1947"/>
              <a:gd name="T96" fmla="*/ 1621 w 1946"/>
              <a:gd name="T97" fmla="*/ 940 h 1947"/>
              <a:gd name="T98" fmla="*/ 1618 w 1946"/>
              <a:gd name="T99" fmla="*/ 1039 h 1947"/>
              <a:gd name="T100" fmla="*/ 1592 w 1946"/>
              <a:gd name="T101" fmla="*/ 1166 h 1947"/>
              <a:gd name="T102" fmla="*/ 1544 w 1946"/>
              <a:gd name="T103" fmla="*/ 1283 h 1947"/>
              <a:gd name="T104" fmla="*/ 1474 w 1946"/>
              <a:gd name="T105" fmla="*/ 1386 h 1947"/>
              <a:gd name="T106" fmla="*/ 1385 w 1946"/>
              <a:gd name="T107" fmla="*/ 1474 h 1947"/>
              <a:gd name="T108" fmla="*/ 1282 w 1946"/>
              <a:gd name="T109" fmla="*/ 1543 h 1947"/>
              <a:gd name="T110" fmla="*/ 1165 w 1946"/>
              <a:gd name="T111" fmla="*/ 1593 h 1947"/>
              <a:gd name="T112" fmla="*/ 1040 w 1946"/>
              <a:gd name="T113" fmla="*/ 1619 h 19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946" h="1947">
                <a:moveTo>
                  <a:pt x="1741" y="839"/>
                </a:moveTo>
                <a:lnTo>
                  <a:pt x="1741" y="839"/>
                </a:lnTo>
                <a:lnTo>
                  <a:pt x="1733" y="796"/>
                </a:lnTo>
                <a:lnTo>
                  <a:pt x="1722" y="754"/>
                </a:lnTo>
                <a:lnTo>
                  <a:pt x="1709" y="712"/>
                </a:lnTo>
                <a:lnTo>
                  <a:pt x="1693" y="672"/>
                </a:lnTo>
                <a:lnTo>
                  <a:pt x="1676" y="634"/>
                </a:lnTo>
                <a:lnTo>
                  <a:pt x="1657" y="597"/>
                </a:lnTo>
                <a:lnTo>
                  <a:pt x="1635" y="559"/>
                </a:lnTo>
                <a:lnTo>
                  <a:pt x="1611" y="525"/>
                </a:lnTo>
                <a:lnTo>
                  <a:pt x="1728" y="353"/>
                </a:lnTo>
                <a:lnTo>
                  <a:pt x="1593" y="216"/>
                </a:lnTo>
                <a:lnTo>
                  <a:pt x="1421" y="335"/>
                </a:lnTo>
                <a:lnTo>
                  <a:pt x="1421" y="335"/>
                </a:lnTo>
                <a:lnTo>
                  <a:pt x="1385" y="311"/>
                </a:lnTo>
                <a:lnTo>
                  <a:pt x="1350" y="289"/>
                </a:lnTo>
                <a:lnTo>
                  <a:pt x="1312" y="270"/>
                </a:lnTo>
                <a:lnTo>
                  <a:pt x="1273" y="252"/>
                </a:lnTo>
                <a:lnTo>
                  <a:pt x="1233" y="237"/>
                </a:lnTo>
                <a:lnTo>
                  <a:pt x="1193" y="225"/>
                </a:lnTo>
                <a:lnTo>
                  <a:pt x="1150" y="214"/>
                </a:lnTo>
                <a:lnTo>
                  <a:pt x="1107" y="204"/>
                </a:lnTo>
                <a:lnTo>
                  <a:pt x="1069" y="0"/>
                </a:lnTo>
                <a:lnTo>
                  <a:pt x="877" y="0"/>
                </a:lnTo>
                <a:lnTo>
                  <a:pt x="839" y="204"/>
                </a:lnTo>
                <a:lnTo>
                  <a:pt x="839" y="204"/>
                </a:lnTo>
                <a:lnTo>
                  <a:pt x="796" y="214"/>
                </a:lnTo>
                <a:lnTo>
                  <a:pt x="753" y="225"/>
                </a:lnTo>
                <a:lnTo>
                  <a:pt x="713" y="237"/>
                </a:lnTo>
                <a:lnTo>
                  <a:pt x="673" y="252"/>
                </a:lnTo>
                <a:lnTo>
                  <a:pt x="634" y="270"/>
                </a:lnTo>
                <a:lnTo>
                  <a:pt x="596" y="289"/>
                </a:lnTo>
                <a:lnTo>
                  <a:pt x="561" y="311"/>
                </a:lnTo>
                <a:lnTo>
                  <a:pt x="525" y="335"/>
                </a:lnTo>
                <a:lnTo>
                  <a:pt x="353" y="216"/>
                </a:lnTo>
                <a:lnTo>
                  <a:pt x="218" y="353"/>
                </a:lnTo>
                <a:lnTo>
                  <a:pt x="335" y="525"/>
                </a:lnTo>
                <a:lnTo>
                  <a:pt x="335" y="525"/>
                </a:lnTo>
                <a:lnTo>
                  <a:pt x="311" y="559"/>
                </a:lnTo>
                <a:lnTo>
                  <a:pt x="289" y="597"/>
                </a:lnTo>
                <a:lnTo>
                  <a:pt x="270" y="634"/>
                </a:lnTo>
                <a:lnTo>
                  <a:pt x="253" y="672"/>
                </a:lnTo>
                <a:lnTo>
                  <a:pt x="237" y="712"/>
                </a:lnTo>
                <a:lnTo>
                  <a:pt x="224" y="754"/>
                </a:lnTo>
                <a:lnTo>
                  <a:pt x="213" y="796"/>
                </a:lnTo>
                <a:lnTo>
                  <a:pt x="205" y="839"/>
                </a:lnTo>
                <a:lnTo>
                  <a:pt x="0" y="876"/>
                </a:lnTo>
                <a:lnTo>
                  <a:pt x="0" y="1069"/>
                </a:lnTo>
                <a:lnTo>
                  <a:pt x="205" y="1108"/>
                </a:lnTo>
                <a:lnTo>
                  <a:pt x="205" y="1108"/>
                </a:lnTo>
                <a:lnTo>
                  <a:pt x="213" y="1151"/>
                </a:lnTo>
                <a:lnTo>
                  <a:pt x="224" y="1192"/>
                </a:lnTo>
                <a:lnTo>
                  <a:pt x="237" y="1233"/>
                </a:lnTo>
                <a:lnTo>
                  <a:pt x="253" y="1273"/>
                </a:lnTo>
                <a:lnTo>
                  <a:pt x="270" y="1312"/>
                </a:lnTo>
                <a:lnTo>
                  <a:pt x="289" y="1350"/>
                </a:lnTo>
                <a:lnTo>
                  <a:pt x="311" y="1386"/>
                </a:lnTo>
                <a:lnTo>
                  <a:pt x="335" y="1422"/>
                </a:lnTo>
                <a:lnTo>
                  <a:pt x="218" y="1593"/>
                </a:lnTo>
                <a:lnTo>
                  <a:pt x="353" y="1729"/>
                </a:lnTo>
                <a:lnTo>
                  <a:pt x="525" y="1612"/>
                </a:lnTo>
                <a:lnTo>
                  <a:pt x="525" y="1612"/>
                </a:lnTo>
                <a:lnTo>
                  <a:pt x="561" y="1636"/>
                </a:lnTo>
                <a:lnTo>
                  <a:pt x="596" y="1656"/>
                </a:lnTo>
                <a:lnTo>
                  <a:pt x="634" y="1676"/>
                </a:lnTo>
                <a:lnTo>
                  <a:pt x="673" y="1693"/>
                </a:lnTo>
                <a:lnTo>
                  <a:pt x="713" y="1709"/>
                </a:lnTo>
                <a:lnTo>
                  <a:pt x="753" y="1722"/>
                </a:lnTo>
                <a:lnTo>
                  <a:pt x="796" y="1733"/>
                </a:lnTo>
                <a:lnTo>
                  <a:pt x="839" y="1742"/>
                </a:lnTo>
                <a:lnTo>
                  <a:pt x="877" y="1947"/>
                </a:lnTo>
                <a:lnTo>
                  <a:pt x="1069" y="1947"/>
                </a:lnTo>
                <a:lnTo>
                  <a:pt x="1107" y="1742"/>
                </a:lnTo>
                <a:lnTo>
                  <a:pt x="1107" y="1742"/>
                </a:lnTo>
                <a:lnTo>
                  <a:pt x="1150" y="1733"/>
                </a:lnTo>
                <a:lnTo>
                  <a:pt x="1193" y="1722"/>
                </a:lnTo>
                <a:lnTo>
                  <a:pt x="1233" y="1709"/>
                </a:lnTo>
                <a:lnTo>
                  <a:pt x="1273" y="1693"/>
                </a:lnTo>
                <a:lnTo>
                  <a:pt x="1312" y="1676"/>
                </a:lnTo>
                <a:lnTo>
                  <a:pt x="1350" y="1656"/>
                </a:lnTo>
                <a:lnTo>
                  <a:pt x="1385" y="1636"/>
                </a:lnTo>
                <a:lnTo>
                  <a:pt x="1421" y="1612"/>
                </a:lnTo>
                <a:lnTo>
                  <a:pt x="1593" y="1729"/>
                </a:lnTo>
                <a:lnTo>
                  <a:pt x="1728" y="1593"/>
                </a:lnTo>
                <a:lnTo>
                  <a:pt x="1611" y="1422"/>
                </a:lnTo>
                <a:lnTo>
                  <a:pt x="1611" y="1422"/>
                </a:lnTo>
                <a:lnTo>
                  <a:pt x="1635" y="1386"/>
                </a:lnTo>
                <a:lnTo>
                  <a:pt x="1657" y="1350"/>
                </a:lnTo>
                <a:lnTo>
                  <a:pt x="1676" y="1312"/>
                </a:lnTo>
                <a:lnTo>
                  <a:pt x="1693" y="1273"/>
                </a:lnTo>
                <a:lnTo>
                  <a:pt x="1709" y="1233"/>
                </a:lnTo>
                <a:lnTo>
                  <a:pt x="1722" y="1192"/>
                </a:lnTo>
                <a:lnTo>
                  <a:pt x="1733" y="1151"/>
                </a:lnTo>
                <a:lnTo>
                  <a:pt x="1741" y="1108"/>
                </a:lnTo>
                <a:lnTo>
                  <a:pt x="1946" y="1069"/>
                </a:lnTo>
                <a:lnTo>
                  <a:pt x="1946" y="876"/>
                </a:lnTo>
                <a:lnTo>
                  <a:pt x="1741" y="839"/>
                </a:lnTo>
                <a:close/>
                <a:moveTo>
                  <a:pt x="974" y="1622"/>
                </a:moveTo>
                <a:lnTo>
                  <a:pt x="974" y="1622"/>
                </a:lnTo>
                <a:lnTo>
                  <a:pt x="939" y="1622"/>
                </a:lnTo>
                <a:lnTo>
                  <a:pt x="906" y="1619"/>
                </a:lnTo>
                <a:lnTo>
                  <a:pt x="875" y="1615"/>
                </a:lnTo>
                <a:lnTo>
                  <a:pt x="843" y="1609"/>
                </a:lnTo>
                <a:lnTo>
                  <a:pt x="811" y="1603"/>
                </a:lnTo>
                <a:lnTo>
                  <a:pt x="781" y="1593"/>
                </a:lnTo>
                <a:lnTo>
                  <a:pt x="751" y="1583"/>
                </a:lnTo>
                <a:lnTo>
                  <a:pt x="720" y="1571"/>
                </a:lnTo>
                <a:lnTo>
                  <a:pt x="691" y="1558"/>
                </a:lnTo>
                <a:lnTo>
                  <a:pt x="664" y="1543"/>
                </a:lnTo>
                <a:lnTo>
                  <a:pt x="636" y="1528"/>
                </a:lnTo>
                <a:lnTo>
                  <a:pt x="610" y="1512"/>
                </a:lnTo>
                <a:lnTo>
                  <a:pt x="585" y="1494"/>
                </a:lnTo>
                <a:lnTo>
                  <a:pt x="561" y="1474"/>
                </a:lnTo>
                <a:lnTo>
                  <a:pt x="537" y="1454"/>
                </a:lnTo>
                <a:lnTo>
                  <a:pt x="515" y="1432"/>
                </a:lnTo>
                <a:lnTo>
                  <a:pt x="493" y="1410"/>
                </a:lnTo>
                <a:lnTo>
                  <a:pt x="472" y="1386"/>
                </a:lnTo>
                <a:lnTo>
                  <a:pt x="453" y="1361"/>
                </a:lnTo>
                <a:lnTo>
                  <a:pt x="435" y="1335"/>
                </a:lnTo>
                <a:lnTo>
                  <a:pt x="419" y="1309"/>
                </a:lnTo>
                <a:lnTo>
                  <a:pt x="402" y="1283"/>
                </a:lnTo>
                <a:lnTo>
                  <a:pt x="388" y="1254"/>
                </a:lnTo>
                <a:lnTo>
                  <a:pt x="375" y="1225"/>
                </a:lnTo>
                <a:lnTo>
                  <a:pt x="364" y="1196"/>
                </a:lnTo>
                <a:lnTo>
                  <a:pt x="354" y="1166"/>
                </a:lnTo>
                <a:lnTo>
                  <a:pt x="344" y="1135"/>
                </a:lnTo>
                <a:lnTo>
                  <a:pt x="337" y="1104"/>
                </a:lnTo>
                <a:lnTo>
                  <a:pt x="332" y="1072"/>
                </a:lnTo>
                <a:lnTo>
                  <a:pt x="328" y="1039"/>
                </a:lnTo>
                <a:lnTo>
                  <a:pt x="325" y="1006"/>
                </a:lnTo>
                <a:lnTo>
                  <a:pt x="324" y="973"/>
                </a:lnTo>
                <a:lnTo>
                  <a:pt x="324" y="973"/>
                </a:lnTo>
                <a:lnTo>
                  <a:pt x="325" y="940"/>
                </a:lnTo>
                <a:lnTo>
                  <a:pt x="328" y="907"/>
                </a:lnTo>
                <a:lnTo>
                  <a:pt x="332" y="875"/>
                </a:lnTo>
                <a:lnTo>
                  <a:pt x="337" y="842"/>
                </a:lnTo>
                <a:lnTo>
                  <a:pt x="344" y="812"/>
                </a:lnTo>
                <a:lnTo>
                  <a:pt x="354" y="780"/>
                </a:lnTo>
                <a:lnTo>
                  <a:pt x="364" y="750"/>
                </a:lnTo>
                <a:lnTo>
                  <a:pt x="375" y="721"/>
                </a:lnTo>
                <a:lnTo>
                  <a:pt x="388" y="692"/>
                </a:lnTo>
                <a:lnTo>
                  <a:pt x="402" y="664"/>
                </a:lnTo>
                <a:lnTo>
                  <a:pt x="419" y="637"/>
                </a:lnTo>
                <a:lnTo>
                  <a:pt x="435" y="610"/>
                </a:lnTo>
                <a:lnTo>
                  <a:pt x="453" y="586"/>
                </a:lnTo>
                <a:lnTo>
                  <a:pt x="472" y="561"/>
                </a:lnTo>
                <a:lnTo>
                  <a:pt x="493" y="537"/>
                </a:lnTo>
                <a:lnTo>
                  <a:pt x="515" y="514"/>
                </a:lnTo>
                <a:lnTo>
                  <a:pt x="537" y="493"/>
                </a:lnTo>
                <a:lnTo>
                  <a:pt x="561" y="473"/>
                </a:lnTo>
                <a:lnTo>
                  <a:pt x="585" y="453"/>
                </a:lnTo>
                <a:lnTo>
                  <a:pt x="610" y="435"/>
                </a:lnTo>
                <a:lnTo>
                  <a:pt x="636" y="418"/>
                </a:lnTo>
                <a:lnTo>
                  <a:pt x="664" y="402"/>
                </a:lnTo>
                <a:lnTo>
                  <a:pt x="691" y="389"/>
                </a:lnTo>
                <a:lnTo>
                  <a:pt x="720" y="375"/>
                </a:lnTo>
                <a:lnTo>
                  <a:pt x="751" y="364"/>
                </a:lnTo>
                <a:lnTo>
                  <a:pt x="781" y="353"/>
                </a:lnTo>
                <a:lnTo>
                  <a:pt x="811" y="344"/>
                </a:lnTo>
                <a:lnTo>
                  <a:pt x="843" y="338"/>
                </a:lnTo>
                <a:lnTo>
                  <a:pt x="875" y="332"/>
                </a:lnTo>
                <a:lnTo>
                  <a:pt x="906" y="328"/>
                </a:lnTo>
                <a:lnTo>
                  <a:pt x="939" y="325"/>
                </a:lnTo>
                <a:lnTo>
                  <a:pt x="974" y="324"/>
                </a:lnTo>
                <a:lnTo>
                  <a:pt x="974" y="324"/>
                </a:lnTo>
                <a:lnTo>
                  <a:pt x="1007" y="325"/>
                </a:lnTo>
                <a:lnTo>
                  <a:pt x="1040" y="328"/>
                </a:lnTo>
                <a:lnTo>
                  <a:pt x="1071" y="332"/>
                </a:lnTo>
                <a:lnTo>
                  <a:pt x="1103" y="338"/>
                </a:lnTo>
                <a:lnTo>
                  <a:pt x="1135" y="344"/>
                </a:lnTo>
                <a:lnTo>
                  <a:pt x="1165" y="353"/>
                </a:lnTo>
                <a:lnTo>
                  <a:pt x="1195" y="364"/>
                </a:lnTo>
                <a:lnTo>
                  <a:pt x="1226" y="375"/>
                </a:lnTo>
                <a:lnTo>
                  <a:pt x="1255" y="389"/>
                </a:lnTo>
                <a:lnTo>
                  <a:pt x="1282" y="402"/>
                </a:lnTo>
                <a:lnTo>
                  <a:pt x="1310" y="418"/>
                </a:lnTo>
                <a:lnTo>
                  <a:pt x="1336" y="435"/>
                </a:lnTo>
                <a:lnTo>
                  <a:pt x="1361" y="453"/>
                </a:lnTo>
                <a:lnTo>
                  <a:pt x="1385" y="473"/>
                </a:lnTo>
                <a:lnTo>
                  <a:pt x="1409" y="493"/>
                </a:lnTo>
                <a:lnTo>
                  <a:pt x="1431" y="514"/>
                </a:lnTo>
                <a:lnTo>
                  <a:pt x="1453" y="537"/>
                </a:lnTo>
                <a:lnTo>
                  <a:pt x="1474" y="561"/>
                </a:lnTo>
                <a:lnTo>
                  <a:pt x="1493" y="586"/>
                </a:lnTo>
                <a:lnTo>
                  <a:pt x="1511" y="610"/>
                </a:lnTo>
                <a:lnTo>
                  <a:pt x="1527" y="637"/>
                </a:lnTo>
                <a:lnTo>
                  <a:pt x="1544" y="664"/>
                </a:lnTo>
                <a:lnTo>
                  <a:pt x="1558" y="692"/>
                </a:lnTo>
                <a:lnTo>
                  <a:pt x="1571" y="721"/>
                </a:lnTo>
                <a:lnTo>
                  <a:pt x="1582" y="750"/>
                </a:lnTo>
                <a:lnTo>
                  <a:pt x="1592" y="780"/>
                </a:lnTo>
                <a:lnTo>
                  <a:pt x="1602" y="812"/>
                </a:lnTo>
                <a:lnTo>
                  <a:pt x="1609" y="842"/>
                </a:lnTo>
                <a:lnTo>
                  <a:pt x="1614" y="875"/>
                </a:lnTo>
                <a:lnTo>
                  <a:pt x="1618" y="907"/>
                </a:lnTo>
                <a:lnTo>
                  <a:pt x="1621" y="940"/>
                </a:lnTo>
                <a:lnTo>
                  <a:pt x="1622" y="973"/>
                </a:lnTo>
                <a:lnTo>
                  <a:pt x="1622" y="973"/>
                </a:lnTo>
                <a:lnTo>
                  <a:pt x="1621" y="1006"/>
                </a:lnTo>
                <a:lnTo>
                  <a:pt x="1618" y="1039"/>
                </a:lnTo>
                <a:lnTo>
                  <a:pt x="1614" y="1072"/>
                </a:lnTo>
                <a:lnTo>
                  <a:pt x="1609" y="1104"/>
                </a:lnTo>
                <a:lnTo>
                  <a:pt x="1602" y="1135"/>
                </a:lnTo>
                <a:lnTo>
                  <a:pt x="1592" y="1166"/>
                </a:lnTo>
                <a:lnTo>
                  <a:pt x="1582" y="1196"/>
                </a:lnTo>
                <a:lnTo>
                  <a:pt x="1571" y="1225"/>
                </a:lnTo>
                <a:lnTo>
                  <a:pt x="1558" y="1254"/>
                </a:lnTo>
                <a:lnTo>
                  <a:pt x="1544" y="1283"/>
                </a:lnTo>
                <a:lnTo>
                  <a:pt x="1527" y="1309"/>
                </a:lnTo>
                <a:lnTo>
                  <a:pt x="1511" y="1335"/>
                </a:lnTo>
                <a:lnTo>
                  <a:pt x="1493" y="1361"/>
                </a:lnTo>
                <a:lnTo>
                  <a:pt x="1474" y="1386"/>
                </a:lnTo>
                <a:lnTo>
                  <a:pt x="1453" y="1410"/>
                </a:lnTo>
                <a:lnTo>
                  <a:pt x="1431" y="1432"/>
                </a:lnTo>
                <a:lnTo>
                  <a:pt x="1409" y="1454"/>
                </a:lnTo>
                <a:lnTo>
                  <a:pt x="1385" y="1474"/>
                </a:lnTo>
                <a:lnTo>
                  <a:pt x="1361" y="1494"/>
                </a:lnTo>
                <a:lnTo>
                  <a:pt x="1336" y="1512"/>
                </a:lnTo>
                <a:lnTo>
                  <a:pt x="1310" y="1528"/>
                </a:lnTo>
                <a:lnTo>
                  <a:pt x="1282" y="1543"/>
                </a:lnTo>
                <a:lnTo>
                  <a:pt x="1255" y="1558"/>
                </a:lnTo>
                <a:lnTo>
                  <a:pt x="1226" y="1571"/>
                </a:lnTo>
                <a:lnTo>
                  <a:pt x="1195" y="1583"/>
                </a:lnTo>
                <a:lnTo>
                  <a:pt x="1165" y="1593"/>
                </a:lnTo>
                <a:lnTo>
                  <a:pt x="1135" y="1603"/>
                </a:lnTo>
                <a:lnTo>
                  <a:pt x="1103" y="1609"/>
                </a:lnTo>
                <a:lnTo>
                  <a:pt x="1071" y="1615"/>
                </a:lnTo>
                <a:lnTo>
                  <a:pt x="1040" y="1619"/>
                </a:lnTo>
                <a:lnTo>
                  <a:pt x="1007" y="1622"/>
                </a:lnTo>
                <a:lnTo>
                  <a:pt x="974" y="1622"/>
                </a:lnTo>
                <a:lnTo>
                  <a:pt x="974" y="1622"/>
                </a:lnTo>
                <a:close/>
              </a:path>
            </a:pathLst>
          </a:custGeom>
          <a:solidFill>
            <a:srgbClr val="D5D5D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" name="Freeform 5"/>
          <p:cNvSpPr>
            <a:spLocks noEditPoints="1"/>
          </p:cNvSpPr>
          <p:nvPr/>
        </p:nvSpPr>
        <p:spPr bwMode="auto">
          <a:xfrm>
            <a:off x="3907111" y="2688091"/>
            <a:ext cx="1351394" cy="1352087"/>
          </a:xfrm>
          <a:custGeom>
            <a:avLst/>
            <a:gdLst>
              <a:gd name="T0" fmla="*/ 1722 w 1946"/>
              <a:gd name="T1" fmla="*/ 754 h 1947"/>
              <a:gd name="T2" fmla="*/ 1657 w 1946"/>
              <a:gd name="T3" fmla="*/ 597 h 1947"/>
              <a:gd name="T4" fmla="*/ 1593 w 1946"/>
              <a:gd name="T5" fmla="*/ 216 h 1947"/>
              <a:gd name="T6" fmla="*/ 1350 w 1946"/>
              <a:gd name="T7" fmla="*/ 289 h 1947"/>
              <a:gd name="T8" fmla="*/ 1193 w 1946"/>
              <a:gd name="T9" fmla="*/ 225 h 1947"/>
              <a:gd name="T10" fmla="*/ 877 w 1946"/>
              <a:gd name="T11" fmla="*/ 0 h 1947"/>
              <a:gd name="T12" fmla="*/ 753 w 1946"/>
              <a:gd name="T13" fmla="*/ 225 h 1947"/>
              <a:gd name="T14" fmla="*/ 596 w 1946"/>
              <a:gd name="T15" fmla="*/ 289 h 1947"/>
              <a:gd name="T16" fmla="*/ 218 w 1946"/>
              <a:gd name="T17" fmla="*/ 353 h 1947"/>
              <a:gd name="T18" fmla="*/ 289 w 1946"/>
              <a:gd name="T19" fmla="*/ 597 h 1947"/>
              <a:gd name="T20" fmla="*/ 224 w 1946"/>
              <a:gd name="T21" fmla="*/ 754 h 1947"/>
              <a:gd name="T22" fmla="*/ 0 w 1946"/>
              <a:gd name="T23" fmla="*/ 1069 h 1947"/>
              <a:gd name="T24" fmla="*/ 224 w 1946"/>
              <a:gd name="T25" fmla="*/ 1192 h 1947"/>
              <a:gd name="T26" fmla="*/ 289 w 1946"/>
              <a:gd name="T27" fmla="*/ 1350 h 1947"/>
              <a:gd name="T28" fmla="*/ 353 w 1946"/>
              <a:gd name="T29" fmla="*/ 1729 h 1947"/>
              <a:gd name="T30" fmla="*/ 596 w 1946"/>
              <a:gd name="T31" fmla="*/ 1656 h 1947"/>
              <a:gd name="T32" fmla="*/ 753 w 1946"/>
              <a:gd name="T33" fmla="*/ 1722 h 1947"/>
              <a:gd name="T34" fmla="*/ 1069 w 1946"/>
              <a:gd name="T35" fmla="*/ 1947 h 1947"/>
              <a:gd name="T36" fmla="*/ 1193 w 1946"/>
              <a:gd name="T37" fmla="*/ 1722 h 1947"/>
              <a:gd name="T38" fmla="*/ 1350 w 1946"/>
              <a:gd name="T39" fmla="*/ 1656 h 1947"/>
              <a:gd name="T40" fmla="*/ 1728 w 1946"/>
              <a:gd name="T41" fmla="*/ 1593 h 1947"/>
              <a:gd name="T42" fmla="*/ 1657 w 1946"/>
              <a:gd name="T43" fmla="*/ 1350 h 1947"/>
              <a:gd name="T44" fmla="*/ 1722 w 1946"/>
              <a:gd name="T45" fmla="*/ 1192 h 1947"/>
              <a:gd name="T46" fmla="*/ 1946 w 1946"/>
              <a:gd name="T47" fmla="*/ 876 h 1947"/>
              <a:gd name="T48" fmla="*/ 939 w 1946"/>
              <a:gd name="T49" fmla="*/ 1622 h 1947"/>
              <a:gd name="T50" fmla="*/ 811 w 1946"/>
              <a:gd name="T51" fmla="*/ 1603 h 1947"/>
              <a:gd name="T52" fmla="*/ 691 w 1946"/>
              <a:gd name="T53" fmla="*/ 1558 h 1947"/>
              <a:gd name="T54" fmla="*/ 585 w 1946"/>
              <a:gd name="T55" fmla="*/ 1494 h 1947"/>
              <a:gd name="T56" fmla="*/ 493 w 1946"/>
              <a:gd name="T57" fmla="*/ 1410 h 1947"/>
              <a:gd name="T58" fmla="*/ 419 w 1946"/>
              <a:gd name="T59" fmla="*/ 1309 h 1947"/>
              <a:gd name="T60" fmla="*/ 364 w 1946"/>
              <a:gd name="T61" fmla="*/ 1196 h 1947"/>
              <a:gd name="T62" fmla="*/ 332 w 1946"/>
              <a:gd name="T63" fmla="*/ 1072 h 1947"/>
              <a:gd name="T64" fmla="*/ 324 w 1946"/>
              <a:gd name="T65" fmla="*/ 973 h 1947"/>
              <a:gd name="T66" fmla="*/ 337 w 1946"/>
              <a:gd name="T67" fmla="*/ 842 h 1947"/>
              <a:gd name="T68" fmla="*/ 375 w 1946"/>
              <a:gd name="T69" fmla="*/ 721 h 1947"/>
              <a:gd name="T70" fmla="*/ 435 w 1946"/>
              <a:gd name="T71" fmla="*/ 610 h 1947"/>
              <a:gd name="T72" fmla="*/ 515 w 1946"/>
              <a:gd name="T73" fmla="*/ 514 h 1947"/>
              <a:gd name="T74" fmla="*/ 610 w 1946"/>
              <a:gd name="T75" fmla="*/ 435 h 1947"/>
              <a:gd name="T76" fmla="*/ 720 w 1946"/>
              <a:gd name="T77" fmla="*/ 375 h 1947"/>
              <a:gd name="T78" fmla="*/ 843 w 1946"/>
              <a:gd name="T79" fmla="*/ 338 h 1947"/>
              <a:gd name="T80" fmla="*/ 974 w 1946"/>
              <a:gd name="T81" fmla="*/ 324 h 1947"/>
              <a:gd name="T82" fmla="*/ 1071 w 1946"/>
              <a:gd name="T83" fmla="*/ 332 h 1947"/>
              <a:gd name="T84" fmla="*/ 1195 w 1946"/>
              <a:gd name="T85" fmla="*/ 364 h 1947"/>
              <a:gd name="T86" fmla="*/ 1310 w 1946"/>
              <a:gd name="T87" fmla="*/ 418 h 1947"/>
              <a:gd name="T88" fmla="*/ 1409 w 1946"/>
              <a:gd name="T89" fmla="*/ 493 h 1947"/>
              <a:gd name="T90" fmla="*/ 1493 w 1946"/>
              <a:gd name="T91" fmla="*/ 586 h 1947"/>
              <a:gd name="T92" fmla="*/ 1558 w 1946"/>
              <a:gd name="T93" fmla="*/ 692 h 1947"/>
              <a:gd name="T94" fmla="*/ 1602 w 1946"/>
              <a:gd name="T95" fmla="*/ 812 h 1947"/>
              <a:gd name="T96" fmla="*/ 1621 w 1946"/>
              <a:gd name="T97" fmla="*/ 940 h 1947"/>
              <a:gd name="T98" fmla="*/ 1618 w 1946"/>
              <a:gd name="T99" fmla="*/ 1039 h 1947"/>
              <a:gd name="T100" fmla="*/ 1592 w 1946"/>
              <a:gd name="T101" fmla="*/ 1166 h 1947"/>
              <a:gd name="T102" fmla="*/ 1544 w 1946"/>
              <a:gd name="T103" fmla="*/ 1283 h 1947"/>
              <a:gd name="T104" fmla="*/ 1474 w 1946"/>
              <a:gd name="T105" fmla="*/ 1386 h 1947"/>
              <a:gd name="T106" fmla="*/ 1385 w 1946"/>
              <a:gd name="T107" fmla="*/ 1474 h 1947"/>
              <a:gd name="T108" fmla="*/ 1282 w 1946"/>
              <a:gd name="T109" fmla="*/ 1543 h 1947"/>
              <a:gd name="T110" fmla="*/ 1165 w 1946"/>
              <a:gd name="T111" fmla="*/ 1593 h 1947"/>
              <a:gd name="T112" fmla="*/ 1040 w 1946"/>
              <a:gd name="T113" fmla="*/ 1619 h 19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946" h="1947">
                <a:moveTo>
                  <a:pt x="1741" y="839"/>
                </a:moveTo>
                <a:lnTo>
                  <a:pt x="1741" y="839"/>
                </a:lnTo>
                <a:lnTo>
                  <a:pt x="1733" y="796"/>
                </a:lnTo>
                <a:lnTo>
                  <a:pt x="1722" y="754"/>
                </a:lnTo>
                <a:lnTo>
                  <a:pt x="1709" y="712"/>
                </a:lnTo>
                <a:lnTo>
                  <a:pt x="1693" y="672"/>
                </a:lnTo>
                <a:lnTo>
                  <a:pt x="1676" y="634"/>
                </a:lnTo>
                <a:lnTo>
                  <a:pt x="1657" y="597"/>
                </a:lnTo>
                <a:lnTo>
                  <a:pt x="1635" y="559"/>
                </a:lnTo>
                <a:lnTo>
                  <a:pt x="1611" y="525"/>
                </a:lnTo>
                <a:lnTo>
                  <a:pt x="1728" y="353"/>
                </a:lnTo>
                <a:lnTo>
                  <a:pt x="1593" y="216"/>
                </a:lnTo>
                <a:lnTo>
                  <a:pt x="1421" y="335"/>
                </a:lnTo>
                <a:lnTo>
                  <a:pt x="1421" y="335"/>
                </a:lnTo>
                <a:lnTo>
                  <a:pt x="1385" y="311"/>
                </a:lnTo>
                <a:lnTo>
                  <a:pt x="1350" y="289"/>
                </a:lnTo>
                <a:lnTo>
                  <a:pt x="1312" y="270"/>
                </a:lnTo>
                <a:lnTo>
                  <a:pt x="1273" y="252"/>
                </a:lnTo>
                <a:lnTo>
                  <a:pt x="1233" y="237"/>
                </a:lnTo>
                <a:lnTo>
                  <a:pt x="1193" y="225"/>
                </a:lnTo>
                <a:lnTo>
                  <a:pt x="1150" y="214"/>
                </a:lnTo>
                <a:lnTo>
                  <a:pt x="1107" y="204"/>
                </a:lnTo>
                <a:lnTo>
                  <a:pt x="1069" y="0"/>
                </a:lnTo>
                <a:lnTo>
                  <a:pt x="877" y="0"/>
                </a:lnTo>
                <a:lnTo>
                  <a:pt x="839" y="204"/>
                </a:lnTo>
                <a:lnTo>
                  <a:pt x="839" y="204"/>
                </a:lnTo>
                <a:lnTo>
                  <a:pt x="796" y="214"/>
                </a:lnTo>
                <a:lnTo>
                  <a:pt x="753" y="225"/>
                </a:lnTo>
                <a:lnTo>
                  <a:pt x="713" y="237"/>
                </a:lnTo>
                <a:lnTo>
                  <a:pt x="673" y="252"/>
                </a:lnTo>
                <a:lnTo>
                  <a:pt x="634" y="270"/>
                </a:lnTo>
                <a:lnTo>
                  <a:pt x="596" y="289"/>
                </a:lnTo>
                <a:lnTo>
                  <a:pt x="561" y="311"/>
                </a:lnTo>
                <a:lnTo>
                  <a:pt x="525" y="335"/>
                </a:lnTo>
                <a:lnTo>
                  <a:pt x="353" y="216"/>
                </a:lnTo>
                <a:lnTo>
                  <a:pt x="218" y="353"/>
                </a:lnTo>
                <a:lnTo>
                  <a:pt x="335" y="525"/>
                </a:lnTo>
                <a:lnTo>
                  <a:pt x="335" y="525"/>
                </a:lnTo>
                <a:lnTo>
                  <a:pt x="311" y="559"/>
                </a:lnTo>
                <a:lnTo>
                  <a:pt x="289" y="597"/>
                </a:lnTo>
                <a:lnTo>
                  <a:pt x="270" y="634"/>
                </a:lnTo>
                <a:lnTo>
                  <a:pt x="253" y="672"/>
                </a:lnTo>
                <a:lnTo>
                  <a:pt x="237" y="712"/>
                </a:lnTo>
                <a:lnTo>
                  <a:pt x="224" y="754"/>
                </a:lnTo>
                <a:lnTo>
                  <a:pt x="213" y="796"/>
                </a:lnTo>
                <a:lnTo>
                  <a:pt x="205" y="839"/>
                </a:lnTo>
                <a:lnTo>
                  <a:pt x="0" y="876"/>
                </a:lnTo>
                <a:lnTo>
                  <a:pt x="0" y="1069"/>
                </a:lnTo>
                <a:lnTo>
                  <a:pt x="205" y="1108"/>
                </a:lnTo>
                <a:lnTo>
                  <a:pt x="205" y="1108"/>
                </a:lnTo>
                <a:lnTo>
                  <a:pt x="213" y="1151"/>
                </a:lnTo>
                <a:lnTo>
                  <a:pt x="224" y="1192"/>
                </a:lnTo>
                <a:lnTo>
                  <a:pt x="237" y="1233"/>
                </a:lnTo>
                <a:lnTo>
                  <a:pt x="253" y="1273"/>
                </a:lnTo>
                <a:lnTo>
                  <a:pt x="270" y="1312"/>
                </a:lnTo>
                <a:lnTo>
                  <a:pt x="289" y="1350"/>
                </a:lnTo>
                <a:lnTo>
                  <a:pt x="311" y="1386"/>
                </a:lnTo>
                <a:lnTo>
                  <a:pt x="335" y="1422"/>
                </a:lnTo>
                <a:lnTo>
                  <a:pt x="218" y="1593"/>
                </a:lnTo>
                <a:lnTo>
                  <a:pt x="353" y="1729"/>
                </a:lnTo>
                <a:lnTo>
                  <a:pt x="525" y="1612"/>
                </a:lnTo>
                <a:lnTo>
                  <a:pt x="525" y="1612"/>
                </a:lnTo>
                <a:lnTo>
                  <a:pt x="561" y="1636"/>
                </a:lnTo>
                <a:lnTo>
                  <a:pt x="596" y="1656"/>
                </a:lnTo>
                <a:lnTo>
                  <a:pt x="634" y="1676"/>
                </a:lnTo>
                <a:lnTo>
                  <a:pt x="673" y="1693"/>
                </a:lnTo>
                <a:lnTo>
                  <a:pt x="713" y="1709"/>
                </a:lnTo>
                <a:lnTo>
                  <a:pt x="753" y="1722"/>
                </a:lnTo>
                <a:lnTo>
                  <a:pt x="796" y="1733"/>
                </a:lnTo>
                <a:lnTo>
                  <a:pt x="839" y="1742"/>
                </a:lnTo>
                <a:lnTo>
                  <a:pt x="877" y="1947"/>
                </a:lnTo>
                <a:lnTo>
                  <a:pt x="1069" y="1947"/>
                </a:lnTo>
                <a:lnTo>
                  <a:pt x="1107" y="1742"/>
                </a:lnTo>
                <a:lnTo>
                  <a:pt x="1107" y="1742"/>
                </a:lnTo>
                <a:lnTo>
                  <a:pt x="1150" y="1733"/>
                </a:lnTo>
                <a:lnTo>
                  <a:pt x="1193" y="1722"/>
                </a:lnTo>
                <a:lnTo>
                  <a:pt x="1233" y="1709"/>
                </a:lnTo>
                <a:lnTo>
                  <a:pt x="1273" y="1693"/>
                </a:lnTo>
                <a:lnTo>
                  <a:pt x="1312" y="1676"/>
                </a:lnTo>
                <a:lnTo>
                  <a:pt x="1350" y="1656"/>
                </a:lnTo>
                <a:lnTo>
                  <a:pt x="1385" y="1636"/>
                </a:lnTo>
                <a:lnTo>
                  <a:pt x="1421" y="1612"/>
                </a:lnTo>
                <a:lnTo>
                  <a:pt x="1593" y="1729"/>
                </a:lnTo>
                <a:lnTo>
                  <a:pt x="1728" y="1593"/>
                </a:lnTo>
                <a:lnTo>
                  <a:pt x="1611" y="1422"/>
                </a:lnTo>
                <a:lnTo>
                  <a:pt x="1611" y="1422"/>
                </a:lnTo>
                <a:lnTo>
                  <a:pt x="1635" y="1386"/>
                </a:lnTo>
                <a:lnTo>
                  <a:pt x="1657" y="1350"/>
                </a:lnTo>
                <a:lnTo>
                  <a:pt x="1676" y="1312"/>
                </a:lnTo>
                <a:lnTo>
                  <a:pt x="1693" y="1273"/>
                </a:lnTo>
                <a:lnTo>
                  <a:pt x="1709" y="1233"/>
                </a:lnTo>
                <a:lnTo>
                  <a:pt x="1722" y="1192"/>
                </a:lnTo>
                <a:lnTo>
                  <a:pt x="1733" y="1151"/>
                </a:lnTo>
                <a:lnTo>
                  <a:pt x="1741" y="1108"/>
                </a:lnTo>
                <a:lnTo>
                  <a:pt x="1946" y="1069"/>
                </a:lnTo>
                <a:lnTo>
                  <a:pt x="1946" y="876"/>
                </a:lnTo>
                <a:lnTo>
                  <a:pt x="1741" y="839"/>
                </a:lnTo>
                <a:close/>
                <a:moveTo>
                  <a:pt x="974" y="1622"/>
                </a:moveTo>
                <a:lnTo>
                  <a:pt x="974" y="1622"/>
                </a:lnTo>
                <a:lnTo>
                  <a:pt x="939" y="1622"/>
                </a:lnTo>
                <a:lnTo>
                  <a:pt x="906" y="1619"/>
                </a:lnTo>
                <a:lnTo>
                  <a:pt x="875" y="1615"/>
                </a:lnTo>
                <a:lnTo>
                  <a:pt x="843" y="1609"/>
                </a:lnTo>
                <a:lnTo>
                  <a:pt x="811" y="1603"/>
                </a:lnTo>
                <a:lnTo>
                  <a:pt x="781" y="1593"/>
                </a:lnTo>
                <a:lnTo>
                  <a:pt x="751" y="1583"/>
                </a:lnTo>
                <a:lnTo>
                  <a:pt x="720" y="1571"/>
                </a:lnTo>
                <a:lnTo>
                  <a:pt x="691" y="1558"/>
                </a:lnTo>
                <a:lnTo>
                  <a:pt x="664" y="1543"/>
                </a:lnTo>
                <a:lnTo>
                  <a:pt x="636" y="1528"/>
                </a:lnTo>
                <a:lnTo>
                  <a:pt x="610" y="1512"/>
                </a:lnTo>
                <a:lnTo>
                  <a:pt x="585" y="1494"/>
                </a:lnTo>
                <a:lnTo>
                  <a:pt x="561" y="1474"/>
                </a:lnTo>
                <a:lnTo>
                  <a:pt x="537" y="1454"/>
                </a:lnTo>
                <a:lnTo>
                  <a:pt x="515" y="1432"/>
                </a:lnTo>
                <a:lnTo>
                  <a:pt x="493" y="1410"/>
                </a:lnTo>
                <a:lnTo>
                  <a:pt x="472" y="1386"/>
                </a:lnTo>
                <a:lnTo>
                  <a:pt x="453" y="1361"/>
                </a:lnTo>
                <a:lnTo>
                  <a:pt x="435" y="1335"/>
                </a:lnTo>
                <a:lnTo>
                  <a:pt x="419" y="1309"/>
                </a:lnTo>
                <a:lnTo>
                  <a:pt x="402" y="1283"/>
                </a:lnTo>
                <a:lnTo>
                  <a:pt x="388" y="1254"/>
                </a:lnTo>
                <a:lnTo>
                  <a:pt x="375" y="1225"/>
                </a:lnTo>
                <a:lnTo>
                  <a:pt x="364" y="1196"/>
                </a:lnTo>
                <a:lnTo>
                  <a:pt x="354" y="1166"/>
                </a:lnTo>
                <a:lnTo>
                  <a:pt x="344" y="1135"/>
                </a:lnTo>
                <a:lnTo>
                  <a:pt x="337" y="1104"/>
                </a:lnTo>
                <a:lnTo>
                  <a:pt x="332" y="1072"/>
                </a:lnTo>
                <a:lnTo>
                  <a:pt x="328" y="1039"/>
                </a:lnTo>
                <a:lnTo>
                  <a:pt x="325" y="1006"/>
                </a:lnTo>
                <a:lnTo>
                  <a:pt x="324" y="973"/>
                </a:lnTo>
                <a:lnTo>
                  <a:pt x="324" y="973"/>
                </a:lnTo>
                <a:lnTo>
                  <a:pt x="325" y="940"/>
                </a:lnTo>
                <a:lnTo>
                  <a:pt x="328" y="907"/>
                </a:lnTo>
                <a:lnTo>
                  <a:pt x="332" y="875"/>
                </a:lnTo>
                <a:lnTo>
                  <a:pt x="337" y="842"/>
                </a:lnTo>
                <a:lnTo>
                  <a:pt x="344" y="812"/>
                </a:lnTo>
                <a:lnTo>
                  <a:pt x="354" y="780"/>
                </a:lnTo>
                <a:lnTo>
                  <a:pt x="364" y="750"/>
                </a:lnTo>
                <a:lnTo>
                  <a:pt x="375" y="721"/>
                </a:lnTo>
                <a:lnTo>
                  <a:pt x="388" y="692"/>
                </a:lnTo>
                <a:lnTo>
                  <a:pt x="402" y="664"/>
                </a:lnTo>
                <a:lnTo>
                  <a:pt x="419" y="637"/>
                </a:lnTo>
                <a:lnTo>
                  <a:pt x="435" y="610"/>
                </a:lnTo>
                <a:lnTo>
                  <a:pt x="453" y="586"/>
                </a:lnTo>
                <a:lnTo>
                  <a:pt x="472" y="561"/>
                </a:lnTo>
                <a:lnTo>
                  <a:pt x="493" y="537"/>
                </a:lnTo>
                <a:lnTo>
                  <a:pt x="515" y="514"/>
                </a:lnTo>
                <a:lnTo>
                  <a:pt x="537" y="493"/>
                </a:lnTo>
                <a:lnTo>
                  <a:pt x="561" y="473"/>
                </a:lnTo>
                <a:lnTo>
                  <a:pt x="585" y="453"/>
                </a:lnTo>
                <a:lnTo>
                  <a:pt x="610" y="435"/>
                </a:lnTo>
                <a:lnTo>
                  <a:pt x="636" y="418"/>
                </a:lnTo>
                <a:lnTo>
                  <a:pt x="664" y="402"/>
                </a:lnTo>
                <a:lnTo>
                  <a:pt x="691" y="389"/>
                </a:lnTo>
                <a:lnTo>
                  <a:pt x="720" y="375"/>
                </a:lnTo>
                <a:lnTo>
                  <a:pt x="751" y="364"/>
                </a:lnTo>
                <a:lnTo>
                  <a:pt x="781" y="353"/>
                </a:lnTo>
                <a:lnTo>
                  <a:pt x="811" y="344"/>
                </a:lnTo>
                <a:lnTo>
                  <a:pt x="843" y="338"/>
                </a:lnTo>
                <a:lnTo>
                  <a:pt x="875" y="332"/>
                </a:lnTo>
                <a:lnTo>
                  <a:pt x="906" y="328"/>
                </a:lnTo>
                <a:lnTo>
                  <a:pt x="939" y="325"/>
                </a:lnTo>
                <a:lnTo>
                  <a:pt x="974" y="324"/>
                </a:lnTo>
                <a:lnTo>
                  <a:pt x="974" y="324"/>
                </a:lnTo>
                <a:lnTo>
                  <a:pt x="1007" y="325"/>
                </a:lnTo>
                <a:lnTo>
                  <a:pt x="1040" y="328"/>
                </a:lnTo>
                <a:lnTo>
                  <a:pt x="1071" y="332"/>
                </a:lnTo>
                <a:lnTo>
                  <a:pt x="1103" y="338"/>
                </a:lnTo>
                <a:lnTo>
                  <a:pt x="1135" y="344"/>
                </a:lnTo>
                <a:lnTo>
                  <a:pt x="1165" y="353"/>
                </a:lnTo>
                <a:lnTo>
                  <a:pt x="1195" y="364"/>
                </a:lnTo>
                <a:lnTo>
                  <a:pt x="1226" y="375"/>
                </a:lnTo>
                <a:lnTo>
                  <a:pt x="1255" y="389"/>
                </a:lnTo>
                <a:lnTo>
                  <a:pt x="1282" y="402"/>
                </a:lnTo>
                <a:lnTo>
                  <a:pt x="1310" y="418"/>
                </a:lnTo>
                <a:lnTo>
                  <a:pt x="1336" y="435"/>
                </a:lnTo>
                <a:lnTo>
                  <a:pt x="1361" y="453"/>
                </a:lnTo>
                <a:lnTo>
                  <a:pt x="1385" y="473"/>
                </a:lnTo>
                <a:lnTo>
                  <a:pt x="1409" y="493"/>
                </a:lnTo>
                <a:lnTo>
                  <a:pt x="1431" y="514"/>
                </a:lnTo>
                <a:lnTo>
                  <a:pt x="1453" y="537"/>
                </a:lnTo>
                <a:lnTo>
                  <a:pt x="1474" y="561"/>
                </a:lnTo>
                <a:lnTo>
                  <a:pt x="1493" y="586"/>
                </a:lnTo>
                <a:lnTo>
                  <a:pt x="1511" y="610"/>
                </a:lnTo>
                <a:lnTo>
                  <a:pt x="1527" y="637"/>
                </a:lnTo>
                <a:lnTo>
                  <a:pt x="1544" y="664"/>
                </a:lnTo>
                <a:lnTo>
                  <a:pt x="1558" y="692"/>
                </a:lnTo>
                <a:lnTo>
                  <a:pt x="1571" y="721"/>
                </a:lnTo>
                <a:lnTo>
                  <a:pt x="1582" y="750"/>
                </a:lnTo>
                <a:lnTo>
                  <a:pt x="1592" y="780"/>
                </a:lnTo>
                <a:lnTo>
                  <a:pt x="1602" y="812"/>
                </a:lnTo>
                <a:lnTo>
                  <a:pt x="1609" y="842"/>
                </a:lnTo>
                <a:lnTo>
                  <a:pt x="1614" y="875"/>
                </a:lnTo>
                <a:lnTo>
                  <a:pt x="1618" y="907"/>
                </a:lnTo>
                <a:lnTo>
                  <a:pt x="1621" y="940"/>
                </a:lnTo>
                <a:lnTo>
                  <a:pt x="1622" y="973"/>
                </a:lnTo>
                <a:lnTo>
                  <a:pt x="1622" y="973"/>
                </a:lnTo>
                <a:lnTo>
                  <a:pt x="1621" y="1006"/>
                </a:lnTo>
                <a:lnTo>
                  <a:pt x="1618" y="1039"/>
                </a:lnTo>
                <a:lnTo>
                  <a:pt x="1614" y="1072"/>
                </a:lnTo>
                <a:lnTo>
                  <a:pt x="1609" y="1104"/>
                </a:lnTo>
                <a:lnTo>
                  <a:pt x="1602" y="1135"/>
                </a:lnTo>
                <a:lnTo>
                  <a:pt x="1592" y="1166"/>
                </a:lnTo>
                <a:lnTo>
                  <a:pt x="1582" y="1196"/>
                </a:lnTo>
                <a:lnTo>
                  <a:pt x="1571" y="1225"/>
                </a:lnTo>
                <a:lnTo>
                  <a:pt x="1558" y="1254"/>
                </a:lnTo>
                <a:lnTo>
                  <a:pt x="1544" y="1283"/>
                </a:lnTo>
                <a:lnTo>
                  <a:pt x="1527" y="1309"/>
                </a:lnTo>
                <a:lnTo>
                  <a:pt x="1511" y="1335"/>
                </a:lnTo>
                <a:lnTo>
                  <a:pt x="1493" y="1361"/>
                </a:lnTo>
                <a:lnTo>
                  <a:pt x="1474" y="1386"/>
                </a:lnTo>
                <a:lnTo>
                  <a:pt x="1453" y="1410"/>
                </a:lnTo>
                <a:lnTo>
                  <a:pt x="1431" y="1432"/>
                </a:lnTo>
                <a:lnTo>
                  <a:pt x="1409" y="1454"/>
                </a:lnTo>
                <a:lnTo>
                  <a:pt x="1385" y="1474"/>
                </a:lnTo>
                <a:lnTo>
                  <a:pt x="1361" y="1494"/>
                </a:lnTo>
                <a:lnTo>
                  <a:pt x="1336" y="1512"/>
                </a:lnTo>
                <a:lnTo>
                  <a:pt x="1310" y="1528"/>
                </a:lnTo>
                <a:lnTo>
                  <a:pt x="1282" y="1543"/>
                </a:lnTo>
                <a:lnTo>
                  <a:pt x="1255" y="1558"/>
                </a:lnTo>
                <a:lnTo>
                  <a:pt x="1226" y="1571"/>
                </a:lnTo>
                <a:lnTo>
                  <a:pt x="1195" y="1583"/>
                </a:lnTo>
                <a:lnTo>
                  <a:pt x="1165" y="1593"/>
                </a:lnTo>
                <a:lnTo>
                  <a:pt x="1135" y="1603"/>
                </a:lnTo>
                <a:lnTo>
                  <a:pt x="1103" y="1609"/>
                </a:lnTo>
                <a:lnTo>
                  <a:pt x="1071" y="1615"/>
                </a:lnTo>
                <a:lnTo>
                  <a:pt x="1040" y="1619"/>
                </a:lnTo>
                <a:lnTo>
                  <a:pt x="1007" y="1622"/>
                </a:lnTo>
                <a:lnTo>
                  <a:pt x="974" y="1622"/>
                </a:lnTo>
                <a:lnTo>
                  <a:pt x="974" y="1622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4135900" y="3246268"/>
            <a:ext cx="893816" cy="235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b="1" dirty="0">
                <a:solidFill>
                  <a:srgbClr val="000000"/>
                </a:solidFill>
              </a:rPr>
              <a:t>Business Plan</a:t>
            </a:r>
          </a:p>
        </p:txBody>
      </p:sp>
      <p:grpSp>
        <p:nvGrpSpPr>
          <p:cNvPr id="89" name="Group 88"/>
          <p:cNvGrpSpPr/>
          <p:nvPr/>
        </p:nvGrpSpPr>
        <p:grpSpPr>
          <a:xfrm>
            <a:off x="5471320" y="2912375"/>
            <a:ext cx="903054" cy="903518"/>
            <a:chOff x="2060575" y="1763713"/>
            <a:chExt cx="3089275" cy="3090862"/>
          </a:xfrm>
          <a:solidFill>
            <a:srgbClr val="CE202A"/>
          </a:solidFill>
        </p:grpSpPr>
        <p:sp>
          <p:nvSpPr>
            <p:cNvPr id="90" name="Freeform 5"/>
            <p:cNvSpPr>
              <a:spLocks noEditPoints="1"/>
            </p:cNvSpPr>
            <p:nvPr/>
          </p:nvSpPr>
          <p:spPr bwMode="auto">
            <a:xfrm>
              <a:off x="2060575" y="1763713"/>
              <a:ext cx="3089275" cy="3090862"/>
            </a:xfrm>
            <a:custGeom>
              <a:avLst/>
              <a:gdLst>
                <a:gd name="T0" fmla="*/ 1722 w 1946"/>
                <a:gd name="T1" fmla="*/ 754 h 1947"/>
                <a:gd name="T2" fmla="*/ 1657 w 1946"/>
                <a:gd name="T3" fmla="*/ 597 h 1947"/>
                <a:gd name="T4" fmla="*/ 1593 w 1946"/>
                <a:gd name="T5" fmla="*/ 216 h 1947"/>
                <a:gd name="T6" fmla="*/ 1350 w 1946"/>
                <a:gd name="T7" fmla="*/ 289 h 1947"/>
                <a:gd name="T8" fmla="*/ 1193 w 1946"/>
                <a:gd name="T9" fmla="*/ 225 h 1947"/>
                <a:gd name="T10" fmla="*/ 877 w 1946"/>
                <a:gd name="T11" fmla="*/ 0 h 1947"/>
                <a:gd name="T12" fmla="*/ 753 w 1946"/>
                <a:gd name="T13" fmla="*/ 225 h 1947"/>
                <a:gd name="T14" fmla="*/ 596 w 1946"/>
                <a:gd name="T15" fmla="*/ 289 h 1947"/>
                <a:gd name="T16" fmla="*/ 218 w 1946"/>
                <a:gd name="T17" fmla="*/ 353 h 1947"/>
                <a:gd name="T18" fmla="*/ 289 w 1946"/>
                <a:gd name="T19" fmla="*/ 597 h 1947"/>
                <a:gd name="T20" fmla="*/ 224 w 1946"/>
                <a:gd name="T21" fmla="*/ 754 h 1947"/>
                <a:gd name="T22" fmla="*/ 0 w 1946"/>
                <a:gd name="T23" fmla="*/ 1069 h 1947"/>
                <a:gd name="T24" fmla="*/ 224 w 1946"/>
                <a:gd name="T25" fmla="*/ 1192 h 1947"/>
                <a:gd name="T26" fmla="*/ 289 w 1946"/>
                <a:gd name="T27" fmla="*/ 1350 h 1947"/>
                <a:gd name="T28" fmla="*/ 353 w 1946"/>
                <a:gd name="T29" fmla="*/ 1729 h 1947"/>
                <a:gd name="T30" fmla="*/ 596 w 1946"/>
                <a:gd name="T31" fmla="*/ 1656 h 1947"/>
                <a:gd name="T32" fmla="*/ 753 w 1946"/>
                <a:gd name="T33" fmla="*/ 1722 h 1947"/>
                <a:gd name="T34" fmla="*/ 1069 w 1946"/>
                <a:gd name="T35" fmla="*/ 1947 h 1947"/>
                <a:gd name="T36" fmla="*/ 1193 w 1946"/>
                <a:gd name="T37" fmla="*/ 1722 h 1947"/>
                <a:gd name="T38" fmla="*/ 1350 w 1946"/>
                <a:gd name="T39" fmla="*/ 1656 h 1947"/>
                <a:gd name="T40" fmla="*/ 1728 w 1946"/>
                <a:gd name="T41" fmla="*/ 1593 h 1947"/>
                <a:gd name="T42" fmla="*/ 1657 w 1946"/>
                <a:gd name="T43" fmla="*/ 1350 h 1947"/>
                <a:gd name="T44" fmla="*/ 1722 w 1946"/>
                <a:gd name="T45" fmla="*/ 1192 h 1947"/>
                <a:gd name="T46" fmla="*/ 1946 w 1946"/>
                <a:gd name="T47" fmla="*/ 876 h 1947"/>
                <a:gd name="T48" fmla="*/ 939 w 1946"/>
                <a:gd name="T49" fmla="*/ 1622 h 1947"/>
                <a:gd name="T50" fmla="*/ 811 w 1946"/>
                <a:gd name="T51" fmla="*/ 1603 h 1947"/>
                <a:gd name="T52" fmla="*/ 691 w 1946"/>
                <a:gd name="T53" fmla="*/ 1558 h 1947"/>
                <a:gd name="T54" fmla="*/ 585 w 1946"/>
                <a:gd name="T55" fmla="*/ 1494 h 1947"/>
                <a:gd name="T56" fmla="*/ 493 w 1946"/>
                <a:gd name="T57" fmla="*/ 1410 h 1947"/>
                <a:gd name="T58" fmla="*/ 419 w 1946"/>
                <a:gd name="T59" fmla="*/ 1309 h 1947"/>
                <a:gd name="T60" fmla="*/ 364 w 1946"/>
                <a:gd name="T61" fmla="*/ 1196 h 1947"/>
                <a:gd name="T62" fmla="*/ 332 w 1946"/>
                <a:gd name="T63" fmla="*/ 1072 h 1947"/>
                <a:gd name="T64" fmla="*/ 324 w 1946"/>
                <a:gd name="T65" fmla="*/ 973 h 1947"/>
                <a:gd name="T66" fmla="*/ 337 w 1946"/>
                <a:gd name="T67" fmla="*/ 842 h 1947"/>
                <a:gd name="T68" fmla="*/ 375 w 1946"/>
                <a:gd name="T69" fmla="*/ 721 h 1947"/>
                <a:gd name="T70" fmla="*/ 435 w 1946"/>
                <a:gd name="T71" fmla="*/ 610 h 1947"/>
                <a:gd name="T72" fmla="*/ 515 w 1946"/>
                <a:gd name="T73" fmla="*/ 514 h 1947"/>
                <a:gd name="T74" fmla="*/ 610 w 1946"/>
                <a:gd name="T75" fmla="*/ 435 h 1947"/>
                <a:gd name="T76" fmla="*/ 720 w 1946"/>
                <a:gd name="T77" fmla="*/ 375 h 1947"/>
                <a:gd name="T78" fmla="*/ 843 w 1946"/>
                <a:gd name="T79" fmla="*/ 338 h 1947"/>
                <a:gd name="T80" fmla="*/ 974 w 1946"/>
                <a:gd name="T81" fmla="*/ 324 h 1947"/>
                <a:gd name="T82" fmla="*/ 1071 w 1946"/>
                <a:gd name="T83" fmla="*/ 332 h 1947"/>
                <a:gd name="T84" fmla="*/ 1195 w 1946"/>
                <a:gd name="T85" fmla="*/ 364 h 1947"/>
                <a:gd name="T86" fmla="*/ 1310 w 1946"/>
                <a:gd name="T87" fmla="*/ 418 h 1947"/>
                <a:gd name="T88" fmla="*/ 1409 w 1946"/>
                <a:gd name="T89" fmla="*/ 493 h 1947"/>
                <a:gd name="T90" fmla="*/ 1493 w 1946"/>
                <a:gd name="T91" fmla="*/ 586 h 1947"/>
                <a:gd name="T92" fmla="*/ 1558 w 1946"/>
                <a:gd name="T93" fmla="*/ 692 h 1947"/>
                <a:gd name="T94" fmla="*/ 1602 w 1946"/>
                <a:gd name="T95" fmla="*/ 812 h 1947"/>
                <a:gd name="T96" fmla="*/ 1621 w 1946"/>
                <a:gd name="T97" fmla="*/ 940 h 1947"/>
                <a:gd name="T98" fmla="*/ 1618 w 1946"/>
                <a:gd name="T99" fmla="*/ 1039 h 1947"/>
                <a:gd name="T100" fmla="*/ 1592 w 1946"/>
                <a:gd name="T101" fmla="*/ 1166 h 1947"/>
                <a:gd name="T102" fmla="*/ 1544 w 1946"/>
                <a:gd name="T103" fmla="*/ 1283 h 1947"/>
                <a:gd name="T104" fmla="*/ 1474 w 1946"/>
                <a:gd name="T105" fmla="*/ 1386 h 1947"/>
                <a:gd name="T106" fmla="*/ 1385 w 1946"/>
                <a:gd name="T107" fmla="*/ 1474 h 1947"/>
                <a:gd name="T108" fmla="*/ 1282 w 1946"/>
                <a:gd name="T109" fmla="*/ 1543 h 1947"/>
                <a:gd name="T110" fmla="*/ 1165 w 1946"/>
                <a:gd name="T111" fmla="*/ 1593 h 1947"/>
                <a:gd name="T112" fmla="*/ 1040 w 1946"/>
                <a:gd name="T113" fmla="*/ 1619 h 19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946" h="1947">
                  <a:moveTo>
                    <a:pt x="1741" y="839"/>
                  </a:moveTo>
                  <a:lnTo>
                    <a:pt x="1741" y="839"/>
                  </a:lnTo>
                  <a:lnTo>
                    <a:pt x="1733" y="796"/>
                  </a:lnTo>
                  <a:lnTo>
                    <a:pt x="1722" y="754"/>
                  </a:lnTo>
                  <a:lnTo>
                    <a:pt x="1709" y="712"/>
                  </a:lnTo>
                  <a:lnTo>
                    <a:pt x="1693" y="672"/>
                  </a:lnTo>
                  <a:lnTo>
                    <a:pt x="1676" y="634"/>
                  </a:lnTo>
                  <a:lnTo>
                    <a:pt x="1657" y="597"/>
                  </a:lnTo>
                  <a:lnTo>
                    <a:pt x="1635" y="559"/>
                  </a:lnTo>
                  <a:lnTo>
                    <a:pt x="1611" y="525"/>
                  </a:lnTo>
                  <a:lnTo>
                    <a:pt x="1728" y="353"/>
                  </a:lnTo>
                  <a:lnTo>
                    <a:pt x="1593" y="216"/>
                  </a:lnTo>
                  <a:lnTo>
                    <a:pt x="1421" y="335"/>
                  </a:lnTo>
                  <a:lnTo>
                    <a:pt x="1421" y="335"/>
                  </a:lnTo>
                  <a:lnTo>
                    <a:pt x="1385" y="311"/>
                  </a:lnTo>
                  <a:lnTo>
                    <a:pt x="1350" y="289"/>
                  </a:lnTo>
                  <a:lnTo>
                    <a:pt x="1312" y="270"/>
                  </a:lnTo>
                  <a:lnTo>
                    <a:pt x="1273" y="252"/>
                  </a:lnTo>
                  <a:lnTo>
                    <a:pt x="1233" y="237"/>
                  </a:lnTo>
                  <a:lnTo>
                    <a:pt x="1193" y="225"/>
                  </a:lnTo>
                  <a:lnTo>
                    <a:pt x="1150" y="214"/>
                  </a:lnTo>
                  <a:lnTo>
                    <a:pt x="1107" y="204"/>
                  </a:lnTo>
                  <a:lnTo>
                    <a:pt x="1069" y="0"/>
                  </a:lnTo>
                  <a:lnTo>
                    <a:pt x="877" y="0"/>
                  </a:lnTo>
                  <a:lnTo>
                    <a:pt x="839" y="204"/>
                  </a:lnTo>
                  <a:lnTo>
                    <a:pt x="839" y="204"/>
                  </a:lnTo>
                  <a:lnTo>
                    <a:pt x="796" y="214"/>
                  </a:lnTo>
                  <a:lnTo>
                    <a:pt x="753" y="225"/>
                  </a:lnTo>
                  <a:lnTo>
                    <a:pt x="713" y="237"/>
                  </a:lnTo>
                  <a:lnTo>
                    <a:pt x="673" y="252"/>
                  </a:lnTo>
                  <a:lnTo>
                    <a:pt x="634" y="270"/>
                  </a:lnTo>
                  <a:lnTo>
                    <a:pt x="596" y="289"/>
                  </a:lnTo>
                  <a:lnTo>
                    <a:pt x="561" y="311"/>
                  </a:lnTo>
                  <a:lnTo>
                    <a:pt x="525" y="335"/>
                  </a:lnTo>
                  <a:lnTo>
                    <a:pt x="353" y="216"/>
                  </a:lnTo>
                  <a:lnTo>
                    <a:pt x="218" y="353"/>
                  </a:lnTo>
                  <a:lnTo>
                    <a:pt x="335" y="525"/>
                  </a:lnTo>
                  <a:lnTo>
                    <a:pt x="335" y="525"/>
                  </a:lnTo>
                  <a:lnTo>
                    <a:pt x="311" y="559"/>
                  </a:lnTo>
                  <a:lnTo>
                    <a:pt x="289" y="597"/>
                  </a:lnTo>
                  <a:lnTo>
                    <a:pt x="270" y="634"/>
                  </a:lnTo>
                  <a:lnTo>
                    <a:pt x="253" y="672"/>
                  </a:lnTo>
                  <a:lnTo>
                    <a:pt x="237" y="712"/>
                  </a:lnTo>
                  <a:lnTo>
                    <a:pt x="224" y="754"/>
                  </a:lnTo>
                  <a:lnTo>
                    <a:pt x="213" y="796"/>
                  </a:lnTo>
                  <a:lnTo>
                    <a:pt x="205" y="839"/>
                  </a:lnTo>
                  <a:lnTo>
                    <a:pt x="0" y="876"/>
                  </a:lnTo>
                  <a:lnTo>
                    <a:pt x="0" y="1069"/>
                  </a:lnTo>
                  <a:lnTo>
                    <a:pt x="205" y="1108"/>
                  </a:lnTo>
                  <a:lnTo>
                    <a:pt x="205" y="1108"/>
                  </a:lnTo>
                  <a:lnTo>
                    <a:pt x="213" y="1151"/>
                  </a:lnTo>
                  <a:lnTo>
                    <a:pt x="224" y="1192"/>
                  </a:lnTo>
                  <a:lnTo>
                    <a:pt x="237" y="1233"/>
                  </a:lnTo>
                  <a:lnTo>
                    <a:pt x="253" y="1273"/>
                  </a:lnTo>
                  <a:lnTo>
                    <a:pt x="270" y="1312"/>
                  </a:lnTo>
                  <a:lnTo>
                    <a:pt x="289" y="1350"/>
                  </a:lnTo>
                  <a:lnTo>
                    <a:pt x="311" y="1386"/>
                  </a:lnTo>
                  <a:lnTo>
                    <a:pt x="335" y="1422"/>
                  </a:lnTo>
                  <a:lnTo>
                    <a:pt x="218" y="1593"/>
                  </a:lnTo>
                  <a:lnTo>
                    <a:pt x="353" y="1729"/>
                  </a:lnTo>
                  <a:lnTo>
                    <a:pt x="525" y="1612"/>
                  </a:lnTo>
                  <a:lnTo>
                    <a:pt x="525" y="1612"/>
                  </a:lnTo>
                  <a:lnTo>
                    <a:pt x="561" y="1636"/>
                  </a:lnTo>
                  <a:lnTo>
                    <a:pt x="596" y="1656"/>
                  </a:lnTo>
                  <a:lnTo>
                    <a:pt x="634" y="1676"/>
                  </a:lnTo>
                  <a:lnTo>
                    <a:pt x="673" y="1693"/>
                  </a:lnTo>
                  <a:lnTo>
                    <a:pt x="713" y="1709"/>
                  </a:lnTo>
                  <a:lnTo>
                    <a:pt x="753" y="1722"/>
                  </a:lnTo>
                  <a:lnTo>
                    <a:pt x="796" y="1733"/>
                  </a:lnTo>
                  <a:lnTo>
                    <a:pt x="839" y="1742"/>
                  </a:lnTo>
                  <a:lnTo>
                    <a:pt x="877" y="1947"/>
                  </a:lnTo>
                  <a:lnTo>
                    <a:pt x="1069" y="1947"/>
                  </a:lnTo>
                  <a:lnTo>
                    <a:pt x="1107" y="1742"/>
                  </a:lnTo>
                  <a:lnTo>
                    <a:pt x="1107" y="1742"/>
                  </a:lnTo>
                  <a:lnTo>
                    <a:pt x="1150" y="1733"/>
                  </a:lnTo>
                  <a:lnTo>
                    <a:pt x="1193" y="1722"/>
                  </a:lnTo>
                  <a:lnTo>
                    <a:pt x="1233" y="1709"/>
                  </a:lnTo>
                  <a:lnTo>
                    <a:pt x="1273" y="1693"/>
                  </a:lnTo>
                  <a:lnTo>
                    <a:pt x="1312" y="1676"/>
                  </a:lnTo>
                  <a:lnTo>
                    <a:pt x="1350" y="1656"/>
                  </a:lnTo>
                  <a:lnTo>
                    <a:pt x="1385" y="1636"/>
                  </a:lnTo>
                  <a:lnTo>
                    <a:pt x="1421" y="1612"/>
                  </a:lnTo>
                  <a:lnTo>
                    <a:pt x="1593" y="1729"/>
                  </a:lnTo>
                  <a:lnTo>
                    <a:pt x="1728" y="1593"/>
                  </a:lnTo>
                  <a:lnTo>
                    <a:pt x="1611" y="1422"/>
                  </a:lnTo>
                  <a:lnTo>
                    <a:pt x="1611" y="1422"/>
                  </a:lnTo>
                  <a:lnTo>
                    <a:pt x="1635" y="1386"/>
                  </a:lnTo>
                  <a:lnTo>
                    <a:pt x="1657" y="1350"/>
                  </a:lnTo>
                  <a:lnTo>
                    <a:pt x="1676" y="1312"/>
                  </a:lnTo>
                  <a:lnTo>
                    <a:pt x="1693" y="1273"/>
                  </a:lnTo>
                  <a:lnTo>
                    <a:pt x="1709" y="1233"/>
                  </a:lnTo>
                  <a:lnTo>
                    <a:pt x="1722" y="1192"/>
                  </a:lnTo>
                  <a:lnTo>
                    <a:pt x="1733" y="1151"/>
                  </a:lnTo>
                  <a:lnTo>
                    <a:pt x="1741" y="1108"/>
                  </a:lnTo>
                  <a:lnTo>
                    <a:pt x="1946" y="1069"/>
                  </a:lnTo>
                  <a:lnTo>
                    <a:pt x="1946" y="876"/>
                  </a:lnTo>
                  <a:lnTo>
                    <a:pt x="1741" y="839"/>
                  </a:lnTo>
                  <a:close/>
                  <a:moveTo>
                    <a:pt x="974" y="1622"/>
                  </a:moveTo>
                  <a:lnTo>
                    <a:pt x="974" y="1622"/>
                  </a:lnTo>
                  <a:lnTo>
                    <a:pt x="939" y="1622"/>
                  </a:lnTo>
                  <a:lnTo>
                    <a:pt x="906" y="1619"/>
                  </a:lnTo>
                  <a:lnTo>
                    <a:pt x="875" y="1615"/>
                  </a:lnTo>
                  <a:lnTo>
                    <a:pt x="843" y="1609"/>
                  </a:lnTo>
                  <a:lnTo>
                    <a:pt x="811" y="1603"/>
                  </a:lnTo>
                  <a:lnTo>
                    <a:pt x="781" y="1593"/>
                  </a:lnTo>
                  <a:lnTo>
                    <a:pt x="751" y="1583"/>
                  </a:lnTo>
                  <a:lnTo>
                    <a:pt x="720" y="1571"/>
                  </a:lnTo>
                  <a:lnTo>
                    <a:pt x="691" y="1558"/>
                  </a:lnTo>
                  <a:lnTo>
                    <a:pt x="664" y="1543"/>
                  </a:lnTo>
                  <a:lnTo>
                    <a:pt x="636" y="1528"/>
                  </a:lnTo>
                  <a:lnTo>
                    <a:pt x="610" y="1512"/>
                  </a:lnTo>
                  <a:lnTo>
                    <a:pt x="585" y="1494"/>
                  </a:lnTo>
                  <a:lnTo>
                    <a:pt x="561" y="1474"/>
                  </a:lnTo>
                  <a:lnTo>
                    <a:pt x="537" y="1454"/>
                  </a:lnTo>
                  <a:lnTo>
                    <a:pt x="515" y="1432"/>
                  </a:lnTo>
                  <a:lnTo>
                    <a:pt x="493" y="1410"/>
                  </a:lnTo>
                  <a:lnTo>
                    <a:pt x="472" y="1386"/>
                  </a:lnTo>
                  <a:lnTo>
                    <a:pt x="453" y="1361"/>
                  </a:lnTo>
                  <a:lnTo>
                    <a:pt x="435" y="1335"/>
                  </a:lnTo>
                  <a:lnTo>
                    <a:pt x="419" y="1309"/>
                  </a:lnTo>
                  <a:lnTo>
                    <a:pt x="402" y="1283"/>
                  </a:lnTo>
                  <a:lnTo>
                    <a:pt x="388" y="1254"/>
                  </a:lnTo>
                  <a:lnTo>
                    <a:pt x="375" y="1225"/>
                  </a:lnTo>
                  <a:lnTo>
                    <a:pt x="364" y="1196"/>
                  </a:lnTo>
                  <a:lnTo>
                    <a:pt x="354" y="1166"/>
                  </a:lnTo>
                  <a:lnTo>
                    <a:pt x="344" y="1135"/>
                  </a:lnTo>
                  <a:lnTo>
                    <a:pt x="337" y="1104"/>
                  </a:lnTo>
                  <a:lnTo>
                    <a:pt x="332" y="1072"/>
                  </a:lnTo>
                  <a:lnTo>
                    <a:pt x="328" y="1039"/>
                  </a:lnTo>
                  <a:lnTo>
                    <a:pt x="325" y="1006"/>
                  </a:lnTo>
                  <a:lnTo>
                    <a:pt x="324" y="973"/>
                  </a:lnTo>
                  <a:lnTo>
                    <a:pt x="324" y="973"/>
                  </a:lnTo>
                  <a:lnTo>
                    <a:pt x="325" y="940"/>
                  </a:lnTo>
                  <a:lnTo>
                    <a:pt x="328" y="907"/>
                  </a:lnTo>
                  <a:lnTo>
                    <a:pt x="332" y="875"/>
                  </a:lnTo>
                  <a:lnTo>
                    <a:pt x="337" y="842"/>
                  </a:lnTo>
                  <a:lnTo>
                    <a:pt x="344" y="812"/>
                  </a:lnTo>
                  <a:lnTo>
                    <a:pt x="354" y="780"/>
                  </a:lnTo>
                  <a:lnTo>
                    <a:pt x="364" y="750"/>
                  </a:lnTo>
                  <a:lnTo>
                    <a:pt x="375" y="721"/>
                  </a:lnTo>
                  <a:lnTo>
                    <a:pt x="388" y="692"/>
                  </a:lnTo>
                  <a:lnTo>
                    <a:pt x="402" y="664"/>
                  </a:lnTo>
                  <a:lnTo>
                    <a:pt x="419" y="637"/>
                  </a:lnTo>
                  <a:lnTo>
                    <a:pt x="435" y="610"/>
                  </a:lnTo>
                  <a:lnTo>
                    <a:pt x="453" y="586"/>
                  </a:lnTo>
                  <a:lnTo>
                    <a:pt x="472" y="561"/>
                  </a:lnTo>
                  <a:lnTo>
                    <a:pt x="493" y="537"/>
                  </a:lnTo>
                  <a:lnTo>
                    <a:pt x="515" y="514"/>
                  </a:lnTo>
                  <a:lnTo>
                    <a:pt x="537" y="493"/>
                  </a:lnTo>
                  <a:lnTo>
                    <a:pt x="561" y="473"/>
                  </a:lnTo>
                  <a:lnTo>
                    <a:pt x="585" y="453"/>
                  </a:lnTo>
                  <a:lnTo>
                    <a:pt x="610" y="435"/>
                  </a:lnTo>
                  <a:lnTo>
                    <a:pt x="636" y="418"/>
                  </a:lnTo>
                  <a:lnTo>
                    <a:pt x="664" y="402"/>
                  </a:lnTo>
                  <a:lnTo>
                    <a:pt x="691" y="389"/>
                  </a:lnTo>
                  <a:lnTo>
                    <a:pt x="720" y="375"/>
                  </a:lnTo>
                  <a:lnTo>
                    <a:pt x="751" y="364"/>
                  </a:lnTo>
                  <a:lnTo>
                    <a:pt x="781" y="353"/>
                  </a:lnTo>
                  <a:lnTo>
                    <a:pt x="811" y="344"/>
                  </a:lnTo>
                  <a:lnTo>
                    <a:pt x="843" y="338"/>
                  </a:lnTo>
                  <a:lnTo>
                    <a:pt x="875" y="332"/>
                  </a:lnTo>
                  <a:lnTo>
                    <a:pt x="906" y="328"/>
                  </a:lnTo>
                  <a:lnTo>
                    <a:pt x="939" y="325"/>
                  </a:lnTo>
                  <a:lnTo>
                    <a:pt x="974" y="324"/>
                  </a:lnTo>
                  <a:lnTo>
                    <a:pt x="974" y="324"/>
                  </a:lnTo>
                  <a:lnTo>
                    <a:pt x="1007" y="325"/>
                  </a:lnTo>
                  <a:lnTo>
                    <a:pt x="1040" y="328"/>
                  </a:lnTo>
                  <a:lnTo>
                    <a:pt x="1071" y="332"/>
                  </a:lnTo>
                  <a:lnTo>
                    <a:pt x="1103" y="338"/>
                  </a:lnTo>
                  <a:lnTo>
                    <a:pt x="1135" y="344"/>
                  </a:lnTo>
                  <a:lnTo>
                    <a:pt x="1165" y="353"/>
                  </a:lnTo>
                  <a:lnTo>
                    <a:pt x="1195" y="364"/>
                  </a:lnTo>
                  <a:lnTo>
                    <a:pt x="1226" y="375"/>
                  </a:lnTo>
                  <a:lnTo>
                    <a:pt x="1255" y="389"/>
                  </a:lnTo>
                  <a:lnTo>
                    <a:pt x="1282" y="402"/>
                  </a:lnTo>
                  <a:lnTo>
                    <a:pt x="1310" y="418"/>
                  </a:lnTo>
                  <a:lnTo>
                    <a:pt x="1336" y="435"/>
                  </a:lnTo>
                  <a:lnTo>
                    <a:pt x="1361" y="453"/>
                  </a:lnTo>
                  <a:lnTo>
                    <a:pt x="1385" y="473"/>
                  </a:lnTo>
                  <a:lnTo>
                    <a:pt x="1409" y="493"/>
                  </a:lnTo>
                  <a:lnTo>
                    <a:pt x="1431" y="514"/>
                  </a:lnTo>
                  <a:lnTo>
                    <a:pt x="1453" y="537"/>
                  </a:lnTo>
                  <a:lnTo>
                    <a:pt x="1474" y="561"/>
                  </a:lnTo>
                  <a:lnTo>
                    <a:pt x="1493" y="586"/>
                  </a:lnTo>
                  <a:lnTo>
                    <a:pt x="1511" y="610"/>
                  </a:lnTo>
                  <a:lnTo>
                    <a:pt x="1527" y="637"/>
                  </a:lnTo>
                  <a:lnTo>
                    <a:pt x="1544" y="664"/>
                  </a:lnTo>
                  <a:lnTo>
                    <a:pt x="1558" y="692"/>
                  </a:lnTo>
                  <a:lnTo>
                    <a:pt x="1571" y="721"/>
                  </a:lnTo>
                  <a:lnTo>
                    <a:pt x="1582" y="750"/>
                  </a:lnTo>
                  <a:lnTo>
                    <a:pt x="1592" y="780"/>
                  </a:lnTo>
                  <a:lnTo>
                    <a:pt x="1602" y="812"/>
                  </a:lnTo>
                  <a:lnTo>
                    <a:pt x="1609" y="842"/>
                  </a:lnTo>
                  <a:lnTo>
                    <a:pt x="1614" y="875"/>
                  </a:lnTo>
                  <a:lnTo>
                    <a:pt x="1618" y="907"/>
                  </a:lnTo>
                  <a:lnTo>
                    <a:pt x="1621" y="940"/>
                  </a:lnTo>
                  <a:lnTo>
                    <a:pt x="1622" y="973"/>
                  </a:lnTo>
                  <a:lnTo>
                    <a:pt x="1622" y="973"/>
                  </a:lnTo>
                  <a:lnTo>
                    <a:pt x="1621" y="1006"/>
                  </a:lnTo>
                  <a:lnTo>
                    <a:pt x="1618" y="1039"/>
                  </a:lnTo>
                  <a:lnTo>
                    <a:pt x="1614" y="1072"/>
                  </a:lnTo>
                  <a:lnTo>
                    <a:pt x="1609" y="1104"/>
                  </a:lnTo>
                  <a:lnTo>
                    <a:pt x="1602" y="1135"/>
                  </a:lnTo>
                  <a:lnTo>
                    <a:pt x="1592" y="1166"/>
                  </a:lnTo>
                  <a:lnTo>
                    <a:pt x="1582" y="1196"/>
                  </a:lnTo>
                  <a:lnTo>
                    <a:pt x="1571" y="1225"/>
                  </a:lnTo>
                  <a:lnTo>
                    <a:pt x="1558" y="1254"/>
                  </a:lnTo>
                  <a:lnTo>
                    <a:pt x="1544" y="1283"/>
                  </a:lnTo>
                  <a:lnTo>
                    <a:pt x="1527" y="1309"/>
                  </a:lnTo>
                  <a:lnTo>
                    <a:pt x="1511" y="1335"/>
                  </a:lnTo>
                  <a:lnTo>
                    <a:pt x="1493" y="1361"/>
                  </a:lnTo>
                  <a:lnTo>
                    <a:pt x="1474" y="1386"/>
                  </a:lnTo>
                  <a:lnTo>
                    <a:pt x="1453" y="1410"/>
                  </a:lnTo>
                  <a:lnTo>
                    <a:pt x="1431" y="1432"/>
                  </a:lnTo>
                  <a:lnTo>
                    <a:pt x="1409" y="1454"/>
                  </a:lnTo>
                  <a:lnTo>
                    <a:pt x="1385" y="1474"/>
                  </a:lnTo>
                  <a:lnTo>
                    <a:pt x="1361" y="1494"/>
                  </a:lnTo>
                  <a:lnTo>
                    <a:pt x="1336" y="1512"/>
                  </a:lnTo>
                  <a:lnTo>
                    <a:pt x="1310" y="1528"/>
                  </a:lnTo>
                  <a:lnTo>
                    <a:pt x="1282" y="1543"/>
                  </a:lnTo>
                  <a:lnTo>
                    <a:pt x="1255" y="1558"/>
                  </a:lnTo>
                  <a:lnTo>
                    <a:pt x="1226" y="1571"/>
                  </a:lnTo>
                  <a:lnTo>
                    <a:pt x="1195" y="1583"/>
                  </a:lnTo>
                  <a:lnTo>
                    <a:pt x="1165" y="1593"/>
                  </a:lnTo>
                  <a:lnTo>
                    <a:pt x="1135" y="1603"/>
                  </a:lnTo>
                  <a:lnTo>
                    <a:pt x="1103" y="1609"/>
                  </a:lnTo>
                  <a:lnTo>
                    <a:pt x="1071" y="1615"/>
                  </a:lnTo>
                  <a:lnTo>
                    <a:pt x="1040" y="1619"/>
                  </a:lnTo>
                  <a:lnTo>
                    <a:pt x="1007" y="1622"/>
                  </a:lnTo>
                  <a:lnTo>
                    <a:pt x="974" y="1622"/>
                  </a:lnTo>
                  <a:lnTo>
                    <a:pt x="974" y="162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8"/>
            <p:cNvSpPr>
              <a:spLocks/>
            </p:cNvSpPr>
            <p:nvPr/>
          </p:nvSpPr>
          <p:spPr bwMode="auto">
            <a:xfrm>
              <a:off x="2678873" y="2383860"/>
              <a:ext cx="1852679" cy="1850565"/>
            </a:xfrm>
            <a:custGeom>
              <a:avLst/>
              <a:gdLst>
                <a:gd name="T0" fmla="*/ 416 w 878"/>
                <a:gd name="T1" fmla="*/ 0 h 877"/>
                <a:gd name="T2" fmla="*/ 350 w 878"/>
                <a:gd name="T3" fmla="*/ 8 h 877"/>
                <a:gd name="T4" fmla="*/ 288 w 878"/>
                <a:gd name="T5" fmla="*/ 26 h 877"/>
                <a:gd name="T6" fmla="*/ 230 w 878"/>
                <a:gd name="T7" fmla="*/ 52 h 877"/>
                <a:gd name="T8" fmla="*/ 177 w 878"/>
                <a:gd name="T9" fmla="*/ 86 h 877"/>
                <a:gd name="T10" fmla="*/ 128 w 878"/>
                <a:gd name="T11" fmla="*/ 128 h 877"/>
                <a:gd name="T12" fmla="*/ 87 w 878"/>
                <a:gd name="T13" fmla="*/ 176 h 877"/>
                <a:gd name="T14" fmla="*/ 53 w 878"/>
                <a:gd name="T15" fmla="*/ 230 h 877"/>
                <a:gd name="T16" fmla="*/ 27 w 878"/>
                <a:gd name="T17" fmla="*/ 288 h 877"/>
                <a:gd name="T18" fmla="*/ 9 w 878"/>
                <a:gd name="T19" fmla="*/ 350 h 877"/>
                <a:gd name="T20" fmla="*/ 0 w 878"/>
                <a:gd name="T21" fmla="*/ 416 h 877"/>
                <a:gd name="T22" fmla="*/ 0 w 878"/>
                <a:gd name="T23" fmla="*/ 461 h 877"/>
                <a:gd name="T24" fmla="*/ 9 w 878"/>
                <a:gd name="T25" fmla="*/ 526 h 877"/>
                <a:gd name="T26" fmla="*/ 27 w 878"/>
                <a:gd name="T27" fmla="*/ 589 h 877"/>
                <a:gd name="T28" fmla="*/ 53 w 878"/>
                <a:gd name="T29" fmla="*/ 647 h 877"/>
                <a:gd name="T30" fmla="*/ 87 w 878"/>
                <a:gd name="T31" fmla="*/ 701 h 877"/>
                <a:gd name="T32" fmla="*/ 128 w 878"/>
                <a:gd name="T33" fmla="*/ 748 h 877"/>
                <a:gd name="T34" fmla="*/ 177 w 878"/>
                <a:gd name="T35" fmla="*/ 789 h 877"/>
                <a:gd name="T36" fmla="*/ 230 w 878"/>
                <a:gd name="T37" fmla="*/ 824 h 877"/>
                <a:gd name="T38" fmla="*/ 288 w 878"/>
                <a:gd name="T39" fmla="*/ 850 h 877"/>
                <a:gd name="T40" fmla="*/ 350 w 878"/>
                <a:gd name="T41" fmla="*/ 868 h 877"/>
                <a:gd name="T42" fmla="*/ 416 w 878"/>
                <a:gd name="T43" fmla="*/ 876 h 877"/>
                <a:gd name="T44" fmla="*/ 462 w 878"/>
                <a:gd name="T45" fmla="*/ 876 h 877"/>
                <a:gd name="T46" fmla="*/ 528 w 878"/>
                <a:gd name="T47" fmla="*/ 868 h 877"/>
                <a:gd name="T48" fmla="*/ 590 w 878"/>
                <a:gd name="T49" fmla="*/ 850 h 877"/>
                <a:gd name="T50" fmla="*/ 648 w 878"/>
                <a:gd name="T51" fmla="*/ 824 h 877"/>
                <a:gd name="T52" fmla="*/ 701 w 878"/>
                <a:gd name="T53" fmla="*/ 789 h 877"/>
                <a:gd name="T54" fmla="*/ 750 w 878"/>
                <a:gd name="T55" fmla="*/ 748 h 877"/>
                <a:gd name="T56" fmla="*/ 791 w 878"/>
                <a:gd name="T57" fmla="*/ 701 h 877"/>
                <a:gd name="T58" fmla="*/ 825 w 878"/>
                <a:gd name="T59" fmla="*/ 647 h 877"/>
                <a:gd name="T60" fmla="*/ 851 w 878"/>
                <a:gd name="T61" fmla="*/ 589 h 877"/>
                <a:gd name="T62" fmla="*/ 869 w 878"/>
                <a:gd name="T63" fmla="*/ 526 h 877"/>
                <a:gd name="T64" fmla="*/ 878 w 878"/>
                <a:gd name="T65" fmla="*/ 461 h 877"/>
                <a:gd name="T66" fmla="*/ 878 w 878"/>
                <a:gd name="T67" fmla="*/ 416 h 877"/>
                <a:gd name="T68" fmla="*/ 869 w 878"/>
                <a:gd name="T69" fmla="*/ 350 h 877"/>
                <a:gd name="T70" fmla="*/ 851 w 878"/>
                <a:gd name="T71" fmla="*/ 288 h 877"/>
                <a:gd name="T72" fmla="*/ 825 w 878"/>
                <a:gd name="T73" fmla="*/ 230 h 877"/>
                <a:gd name="T74" fmla="*/ 791 w 878"/>
                <a:gd name="T75" fmla="*/ 176 h 877"/>
                <a:gd name="T76" fmla="*/ 750 w 878"/>
                <a:gd name="T77" fmla="*/ 128 h 877"/>
                <a:gd name="T78" fmla="*/ 701 w 878"/>
                <a:gd name="T79" fmla="*/ 86 h 877"/>
                <a:gd name="T80" fmla="*/ 648 w 878"/>
                <a:gd name="T81" fmla="*/ 52 h 877"/>
                <a:gd name="T82" fmla="*/ 590 w 878"/>
                <a:gd name="T83" fmla="*/ 26 h 877"/>
                <a:gd name="T84" fmla="*/ 528 w 878"/>
                <a:gd name="T85" fmla="*/ 8 h 877"/>
                <a:gd name="T86" fmla="*/ 462 w 878"/>
                <a:gd name="T87" fmla="*/ 0 h 8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78" h="877">
                  <a:moveTo>
                    <a:pt x="440" y="0"/>
                  </a:moveTo>
                  <a:lnTo>
                    <a:pt x="440" y="0"/>
                  </a:lnTo>
                  <a:lnTo>
                    <a:pt x="416" y="0"/>
                  </a:lnTo>
                  <a:lnTo>
                    <a:pt x="394" y="1"/>
                  </a:lnTo>
                  <a:lnTo>
                    <a:pt x="372" y="4"/>
                  </a:lnTo>
                  <a:lnTo>
                    <a:pt x="350" y="8"/>
                  </a:lnTo>
                  <a:lnTo>
                    <a:pt x="330" y="13"/>
                  </a:lnTo>
                  <a:lnTo>
                    <a:pt x="309" y="19"/>
                  </a:lnTo>
                  <a:lnTo>
                    <a:pt x="288" y="26"/>
                  </a:lnTo>
                  <a:lnTo>
                    <a:pt x="269" y="34"/>
                  </a:lnTo>
                  <a:lnTo>
                    <a:pt x="250" y="42"/>
                  </a:lnTo>
                  <a:lnTo>
                    <a:pt x="230" y="52"/>
                  </a:lnTo>
                  <a:lnTo>
                    <a:pt x="211" y="63"/>
                  </a:lnTo>
                  <a:lnTo>
                    <a:pt x="195" y="74"/>
                  </a:lnTo>
                  <a:lnTo>
                    <a:pt x="177" y="86"/>
                  </a:lnTo>
                  <a:lnTo>
                    <a:pt x="160" y="100"/>
                  </a:lnTo>
                  <a:lnTo>
                    <a:pt x="144" y="114"/>
                  </a:lnTo>
                  <a:lnTo>
                    <a:pt x="128" y="128"/>
                  </a:lnTo>
                  <a:lnTo>
                    <a:pt x="115" y="143"/>
                  </a:lnTo>
                  <a:lnTo>
                    <a:pt x="101" y="159"/>
                  </a:lnTo>
                  <a:lnTo>
                    <a:pt x="87" y="176"/>
                  </a:lnTo>
                  <a:lnTo>
                    <a:pt x="75" y="193"/>
                  </a:lnTo>
                  <a:lnTo>
                    <a:pt x="64" y="210"/>
                  </a:lnTo>
                  <a:lnTo>
                    <a:pt x="53" y="230"/>
                  </a:lnTo>
                  <a:lnTo>
                    <a:pt x="43" y="248"/>
                  </a:lnTo>
                  <a:lnTo>
                    <a:pt x="35" y="267"/>
                  </a:lnTo>
                  <a:lnTo>
                    <a:pt x="27" y="288"/>
                  </a:lnTo>
                  <a:lnTo>
                    <a:pt x="20" y="308"/>
                  </a:lnTo>
                  <a:lnTo>
                    <a:pt x="14" y="329"/>
                  </a:lnTo>
                  <a:lnTo>
                    <a:pt x="9" y="350"/>
                  </a:lnTo>
                  <a:lnTo>
                    <a:pt x="6" y="372"/>
                  </a:lnTo>
                  <a:lnTo>
                    <a:pt x="3" y="394"/>
                  </a:lnTo>
                  <a:lnTo>
                    <a:pt x="0" y="416"/>
                  </a:lnTo>
                  <a:lnTo>
                    <a:pt x="0" y="438"/>
                  </a:lnTo>
                  <a:lnTo>
                    <a:pt x="0" y="438"/>
                  </a:lnTo>
                  <a:lnTo>
                    <a:pt x="0" y="461"/>
                  </a:lnTo>
                  <a:lnTo>
                    <a:pt x="3" y="483"/>
                  </a:lnTo>
                  <a:lnTo>
                    <a:pt x="6" y="505"/>
                  </a:lnTo>
                  <a:lnTo>
                    <a:pt x="9" y="526"/>
                  </a:lnTo>
                  <a:lnTo>
                    <a:pt x="14" y="548"/>
                  </a:lnTo>
                  <a:lnTo>
                    <a:pt x="20" y="569"/>
                  </a:lnTo>
                  <a:lnTo>
                    <a:pt x="27" y="589"/>
                  </a:lnTo>
                  <a:lnTo>
                    <a:pt x="35" y="609"/>
                  </a:lnTo>
                  <a:lnTo>
                    <a:pt x="43" y="628"/>
                  </a:lnTo>
                  <a:lnTo>
                    <a:pt x="53" y="647"/>
                  </a:lnTo>
                  <a:lnTo>
                    <a:pt x="64" y="665"/>
                  </a:lnTo>
                  <a:lnTo>
                    <a:pt x="75" y="683"/>
                  </a:lnTo>
                  <a:lnTo>
                    <a:pt x="87" y="701"/>
                  </a:lnTo>
                  <a:lnTo>
                    <a:pt x="101" y="718"/>
                  </a:lnTo>
                  <a:lnTo>
                    <a:pt x="115" y="733"/>
                  </a:lnTo>
                  <a:lnTo>
                    <a:pt x="128" y="748"/>
                  </a:lnTo>
                  <a:lnTo>
                    <a:pt x="144" y="763"/>
                  </a:lnTo>
                  <a:lnTo>
                    <a:pt x="160" y="777"/>
                  </a:lnTo>
                  <a:lnTo>
                    <a:pt x="177" y="789"/>
                  </a:lnTo>
                  <a:lnTo>
                    <a:pt x="195" y="802"/>
                  </a:lnTo>
                  <a:lnTo>
                    <a:pt x="211" y="814"/>
                  </a:lnTo>
                  <a:lnTo>
                    <a:pt x="230" y="824"/>
                  </a:lnTo>
                  <a:lnTo>
                    <a:pt x="250" y="833"/>
                  </a:lnTo>
                  <a:lnTo>
                    <a:pt x="269" y="843"/>
                  </a:lnTo>
                  <a:lnTo>
                    <a:pt x="288" y="850"/>
                  </a:lnTo>
                  <a:lnTo>
                    <a:pt x="309" y="857"/>
                  </a:lnTo>
                  <a:lnTo>
                    <a:pt x="330" y="864"/>
                  </a:lnTo>
                  <a:lnTo>
                    <a:pt x="350" y="868"/>
                  </a:lnTo>
                  <a:lnTo>
                    <a:pt x="372" y="872"/>
                  </a:lnTo>
                  <a:lnTo>
                    <a:pt x="394" y="875"/>
                  </a:lnTo>
                  <a:lnTo>
                    <a:pt x="416" y="876"/>
                  </a:lnTo>
                  <a:lnTo>
                    <a:pt x="440" y="877"/>
                  </a:lnTo>
                  <a:lnTo>
                    <a:pt x="440" y="877"/>
                  </a:lnTo>
                  <a:lnTo>
                    <a:pt x="462" y="876"/>
                  </a:lnTo>
                  <a:lnTo>
                    <a:pt x="484" y="875"/>
                  </a:lnTo>
                  <a:lnTo>
                    <a:pt x="506" y="872"/>
                  </a:lnTo>
                  <a:lnTo>
                    <a:pt x="528" y="868"/>
                  </a:lnTo>
                  <a:lnTo>
                    <a:pt x="548" y="864"/>
                  </a:lnTo>
                  <a:lnTo>
                    <a:pt x="569" y="857"/>
                  </a:lnTo>
                  <a:lnTo>
                    <a:pt x="590" y="850"/>
                  </a:lnTo>
                  <a:lnTo>
                    <a:pt x="609" y="843"/>
                  </a:lnTo>
                  <a:lnTo>
                    <a:pt x="628" y="833"/>
                  </a:lnTo>
                  <a:lnTo>
                    <a:pt x="648" y="824"/>
                  </a:lnTo>
                  <a:lnTo>
                    <a:pt x="667" y="814"/>
                  </a:lnTo>
                  <a:lnTo>
                    <a:pt x="683" y="802"/>
                  </a:lnTo>
                  <a:lnTo>
                    <a:pt x="701" y="789"/>
                  </a:lnTo>
                  <a:lnTo>
                    <a:pt x="718" y="777"/>
                  </a:lnTo>
                  <a:lnTo>
                    <a:pt x="734" y="763"/>
                  </a:lnTo>
                  <a:lnTo>
                    <a:pt x="750" y="748"/>
                  </a:lnTo>
                  <a:lnTo>
                    <a:pt x="763" y="733"/>
                  </a:lnTo>
                  <a:lnTo>
                    <a:pt x="777" y="718"/>
                  </a:lnTo>
                  <a:lnTo>
                    <a:pt x="791" y="701"/>
                  </a:lnTo>
                  <a:lnTo>
                    <a:pt x="803" y="683"/>
                  </a:lnTo>
                  <a:lnTo>
                    <a:pt x="814" y="665"/>
                  </a:lnTo>
                  <a:lnTo>
                    <a:pt x="825" y="647"/>
                  </a:lnTo>
                  <a:lnTo>
                    <a:pt x="835" y="628"/>
                  </a:lnTo>
                  <a:lnTo>
                    <a:pt x="843" y="609"/>
                  </a:lnTo>
                  <a:lnTo>
                    <a:pt x="851" y="589"/>
                  </a:lnTo>
                  <a:lnTo>
                    <a:pt x="858" y="569"/>
                  </a:lnTo>
                  <a:lnTo>
                    <a:pt x="864" y="548"/>
                  </a:lnTo>
                  <a:lnTo>
                    <a:pt x="869" y="526"/>
                  </a:lnTo>
                  <a:lnTo>
                    <a:pt x="872" y="505"/>
                  </a:lnTo>
                  <a:lnTo>
                    <a:pt x="875" y="483"/>
                  </a:lnTo>
                  <a:lnTo>
                    <a:pt x="878" y="461"/>
                  </a:lnTo>
                  <a:lnTo>
                    <a:pt x="878" y="438"/>
                  </a:lnTo>
                  <a:lnTo>
                    <a:pt x="878" y="438"/>
                  </a:lnTo>
                  <a:lnTo>
                    <a:pt x="878" y="416"/>
                  </a:lnTo>
                  <a:lnTo>
                    <a:pt x="875" y="394"/>
                  </a:lnTo>
                  <a:lnTo>
                    <a:pt x="872" y="372"/>
                  </a:lnTo>
                  <a:lnTo>
                    <a:pt x="869" y="350"/>
                  </a:lnTo>
                  <a:lnTo>
                    <a:pt x="864" y="329"/>
                  </a:lnTo>
                  <a:lnTo>
                    <a:pt x="858" y="308"/>
                  </a:lnTo>
                  <a:lnTo>
                    <a:pt x="851" y="288"/>
                  </a:lnTo>
                  <a:lnTo>
                    <a:pt x="843" y="267"/>
                  </a:lnTo>
                  <a:lnTo>
                    <a:pt x="835" y="248"/>
                  </a:lnTo>
                  <a:lnTo>
                    <a:pt x="825" y="230"/>
                  </a:lnTo>
                  <a:lnTo>
                    <a:pt x="814" y="210"/>
                  </a:lnTo>
                  <a:lnTo>
                    <a:pt x="803" y="193"/>
                  </a:lnTo>
                  <a:lnTo>
                    <a:pt x="791" y="176"/>
                  </a:lnTo>
                  <a:lnTo>
                    <a:pt x="777" y="159"/>
                  </a:lnTo>
                  <a:lnTo>
                    <a:pt x="763" y="143"/>
                  </a:lnTo>
                  <a:lnTo>
                    <a:pt x="750" y="128"/>
                  </a:lnTo>
                  <a:lnTo>
                    <a:pt x="734" y="114"/>
                  </a:lnTo>
                  <a:lnTo>
                    <a:pt x="718" y="100"/>
                  </a:lnTo>
                  <a:lnTo>
                    <a:pt x="701" y="86"/>
                  </a:lnTo>
                  <a:lnTo>
                    <a:pt x="683" y="74"/>
                  </a:lnTo>
                  <a:lnTo>
                    <a:pt x="667" y="63"/>
                  </a:lnTo>
                  <a:lnTo>
                    <a:pt x="648" y="52"/>
                  </a:lnTo>
                  <a:lnTo>
                    <a:pt x="628" y="42"/>
                  </a:lnTo>
                  <a:lnTo>
                    <a:pt x="609" y="34"/>
                  </a:lnTo>
                  <a:lnTo>
                    <a:pt x="590" y="26"/>
                  </a:lnTo>
                  <a:lnTo>
                    <a:pt x="569" y="19"/>
                  </a:lnTo>
                  <a:lnTo>
                    <a:pt x="548" y="13"/>
                  </a:lnTo>
                  <a:lnTo>
                    <a:pt x="528" y="8"/>
                  </a:lnTo>
                  <a:lnTo>
                    <a:pt x="506" y="4"/>
                  </a:lnTo>
                  <a:lnTo>
                    <a:pt x="484" y="1"/>
                  </a:lnTo>
                  <a:lnTo>
                    <a:pt x="462" y="0"/>
                  </a:lnTo>
                  <a:lnTo>
                    <a:pt x="440" y="0"/>
                  </a:lnTo>
                  <a:lnTo>
                    <a:pt x="44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200" b="1" dirty="0" smtClean="0">
                  <a:solidFill>
                    <a:schemeClr val="bg1"/>
                  </a:solidFill>
                </a:rPr>
                <a:t>Goal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92" name="Rectangle 91"/>
          <p:cNvSpPr/>
          <p:nvPr/>
        </p:nvSpPr>
        <p:spPr>
          <a:xfrm>
            <a:off x="1954408" y="2570224"/>
            <a:ext cx="603026" cy="235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</a:rPr>
              <a:t>Strategy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93" name="Rectangle 92"/>
          <p:cNvSpPr/>
          <p:nvPr/>
        </p:nvSpPr>
        <p:spPr>
          <a:xfrm>
            <a:off x="3391557" y="2157635"/>
            <a:ext cx="605481" cy="235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</a:rPr>
              <a:t>Develop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94" name="Rectangle 93"/>
          <p:cNvSpPr/>
          <p:nvPr/>
        </p:nvSpPr>
        <p:spPr>
          <a:xfrm>
            <a:off x="5224266" y="2157635"/>
            <a:ext cx="494109" cy="235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</a:rPr>
              <a:t>Vision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95" name="Rectangle 94"/>
          <p:cNvSpPr/>
          <p:nvPr/>
        </p:nvSpPr>
        <p:spPr>
          <a:xfrm>
            <a:off x="6604192" y="2570224"/>
            <a:ext cx="567775" cy="235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</a:rPr>
              <a:t>Success</a:t>
            </a:r>
            <a:endParaRPr lang="en-US" sz="1200" b="1" dirty="0">
              <a:solidFill>
                <a:srgbClr val="000000"/>
              </a:solidFill>
            </a:endParaRPr>
          </a:p>
        </p:txBody>
      </p:sp>
      <p:grpSp>
        <p:nvGrpSpPr>
          <p:cNvPr id="100" name="Group 99"/>
          <p:cNvGrpSpPr/>
          <p:nvPr/>
        </p:nvGrpSpPr>
        <p:grpSpPr>
          <a:xfrm>
            <a:off x="334963" y="4673608"/>
            <a:ext cx="2265373" cy="1154642"/>
            <a:chOff x="6765581" y="1585913"/>
            <a:chExt cx="1872209" cy="1154642"/>
          </a:xfrm>
        </p:grpSpPr>
        <p:sp>
          <p:nvSpPr>
            <p:cNvPr id="101" name="Rectangle 100"/>
            <p:cNvSpPr/>
            <p:nvPr/>
          </p:nvSpPr>
          <p:spPr>
            <a:xfrm>
              <a:off x="6903146" y="1825517"/>
              <a:ext cx="1734644" cy="915038"/>
            </a:xfrm>
            <a:prstGeom prst="rect">
              <a:avLst/>
            </a:prstGeom>
            <a:solidFill>
              <a:srgbClr val="D5D5D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274320" bIns="91440" rtlCol="0" anchor="t"/>
            <a:lstStyle/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sz="1000" dirty="0">
                  <a:solidFill>
                    <a:srgbClr val="000000"/>
                  </a:solidFill>
                </a:rPr>
                <a:t>Place your text here, this is an example text. Go a head replace with your own text</a:t>
              </a:r>
            </a:p>
          </p:txBody>
        </p:sp>
        <p:sp>
          <p:nvSpPr>
            <p:cNvPr id="102" name="Rectangle 101"/>
            <p:cNvSpPr/>
            <p:nvPr/>
          </p:nvSpPr>
          <p:spPr>
            <a:xfrm>
              <a:off x="6765581" y="1585913"/>
              <a:ext cx="1418525" cy="427572"/>
            </a:xfrm>
            <a:prstGeom prst="rect">
              <a:avLst/>
            </a:prstGeom>
            <a:solidFill>
              <a:srgbClr val="0D65AC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dirty="0" smtClean="0"/>
                <a:t>Example Text</a:t>
              </a:r>
              <a:endParaRPr lang="en-US" sz="1400" b="1" dirty="0"/>
            </a:p>
          </p:txBody>
        </p:sp>
        <p:sp>
          <p:nvSpPr>
            <p:cNvPr id="103" name="Right Triangle 102"/>
            <p:cNvSpPr/>
            <p:nvPr/>
          </p:nvSpPr>
          <p:spPr>
            <a:xfrm flipH="1" flipV="1">
              <a:off x="6765581" y="2013485"/>
              <a:ext cx="137564" cy="137564"/>
            </a:xfrm>
            <a:prstGeom prst="rtTriangle">
              <a:avLst/>
            </a:prstGeom>
            <a:solidFill>
              <a:srgbClr val="073D6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  <p:sp>
          <p:nvSpPr>
            <p:cNvPr id="104" name="Right Triangle 103"/>
            <p:cNvSpPr/>
            <p:nvPr/>
          </p:nvSpPr>
          <p:spPr>
            <a:xfrm flipV="1">
              <a:off x="6903145" y="2013485"/>
              <a:ext cx="1280961" cy="142032"/>
            </a:xfrm>
            <a:prstGeom prst="rtTriangle">
              <a:avLst/>
            </a:prstGeom>
            <a:solidFill>
              <a:srgbClr val="BFBF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10" name="Group 109"/>
          <p:cNvGrpSpPr/>
          <p:nvPr/>
        </p:nvGrpSpPr>
        <p:grpSpPr>
          <a:xfrm>
            <a:off x="3444082" y="4673608"/>
            <a:ext cx="2265373" cy="1154642"/>
            <a:chOff x="6765581" y="1585913"/>
            <a:chExt cx="1872209" cy="1154642"/>
          </a:xfrm>
        </p:grpSpPr>
        <p:sp>
          <p:nvSpPr>
            <p:cNvPr id="111" name="Rectangle 110"/>
            <p:cNvSpPr/>
            <p:nvPr/>
          </p:nvSpPr>
          <p:spPr>
            <a:xfrm>
              <a:off x="6903146" y="1825517"/>
              <a:ext cx="1734644" cy="915038"/>
            </a:xfrm>
            <a:prstGeom prst="rect">
              <a:avLst/>
            </a:prstGeom>
            <a:solidFill>
              <a:srgbClr val="D5D5D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274320" bIns="91440" rtlCol="0" anchor="t"/>
            <a:lstStyle/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sz="1000" dirty="0">
                  <a:solidFill>
                    <a:srgbClr val="000000"/>
                  </a:solidFill>
                </a:rPr>
                <a:t>Place your text here, this is an example text. Go a head replace with your own text</a:t>
              </a:r>
            </a:p>
          </p:txBody>
        </p:sp>
        <p:sp>
          <p:nvSpPr>
            <p:cNvPr id="112" name="Rectangle 111"/>
            <p:cNvSpPr/>
            <p:nvPr/>
          </p:nvSpPr>
          <p:spPr>
            <a:xfrm>
              <a:off x="6765581" y="1585913"/>
              <a:ext cx="1418525" cy="427572"/>
            </a:xfrm>
            <a:prstGeom prst="rect">
              <a:avLst/>
            </a:prstGeom>
            <a:solidFill>
              <a:srgbClr val="2A9B18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dirty="0" smtClean="0"/>
                <a:t>Example Text</a:t>
              </a:r>
              <a:endParaRPr lang="en-US" sz="1400" b="1" dirty="0"/>
            </a:p>
          </p:txBody>
        </p:sp>
        <p:sp>
          <p:nvSpPr>
            <p:cNvPr id="113" name="Right Triangle 112"/>
            <p:cNvSpPr/>
            <p:nvPr/>
          </p:nvSpPr>
          <p:spPr>
            <a:xfrm flipH="1" flipV="1">
              <a:off x="6765581" y="2013485"/>
              <a:ext cx="137564" cy="137564"/>
            </a:xfrm>
            <a:prstGeom prst="rtTriangle">
              <a:avLst/>
            </a:prstGeom>
            <a:solidFill>
              <a:srgbClr val="1E6911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2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4" name="Right Triangle 113"/>
            <p:cNvSpPr/>
            <p:nvPr/>
          </p:nvSpPr>
          <p:spPr>
            <a:xfrm flipV="1">
              <a:off x="6903145" y="2013485"/>
              <a:ext cx="1280961" cy="142032"/>
            </a:xfrm>
            <a:prstGeom prst="rtTriangle">
              <a:avLst/>
            </a:prstGeom>
            <a:solidFill>
              <a:srgbClr val="BFBF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15" name="Group 114"/>
          <p:cNvGrpSpPr/>
          <p:nvPr/>
        </p:nvGrpSpPr>
        <p:grpSpPr>
          <a:xfrm>
            <a:off x="6553200" y="4673608"/>
            <a:ext cx="2265373" cy="1154642"/>
            <a:chOff x="6765581" y="1585913"/>
            <a:chExt cx="1872209" cy="1154642"/>
          </a:xfrm>
        </p:grpSpPr>
        <p:sp>
          <p:nvSpPr>
            <p:cNvPr id="116" name="Rectangle 115"/>
            <p:cNvSpPr/>
            <p:nvPr/>
          </p:nvSpPr>
          <p:spPr>
            <a:xfrm>
              <a:off x="6903146" y="1825517"/>
              <a:ext cx="1734644" cy="915038"/>
            </a:xfrm>
            <a:prstGeom prst="rect">
              <a:avLst/>
            </a:prstGeom>
            <a:solidFill>
              <a:srgbClr val="D5D5D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274320" bIns="91440" rtlCol="0" anchor="t"/>
            <a:lstStyle/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sz="1000" dirty="0">
                  <a:solidFill>
                    <a:srgbClr val="000000"/>
                  </a:solidFill>
                </a:rPr>
                <a:t>Place your text here, this is an example text. Go a head replace with your own text</a:t>
              </a: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6765581" y="1585913"/>
              <a:ext cx="1418525" cy="427572"/>
            </a:xfrm>
            <a:prstGeom prst="rect">
              <a:avLst/>
            </a:prstGeom>
            <a:solidFill>
              <a:srgbClr val="CE202A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dirty="0" smtClean="0"/>
                <a:t>Example Text</a:t>
              </a:r>
              <a:endParaRPr lang="en-US" sz="1400" b="1" dirty="0"/>
            </a:p>
          </p:txBody>
        </p:sp>
        <p:sp>
          <p:nvSpPr>
            <p:cNvPr id="118" name="Right Triangle 117"/>
            <p:cNvSpPr/>
            <p:nvPr/>
          </p:nvSpPr>
          <p:spPr>
            <a:xfrm flipH="1" flipV="1">
              <a:off x="6765581" y="2013485"/>
              <a:ext cx="137564" cy="137564"/>
            </a:xfrm>
            <a:prstGeom prst="rtTriangle">
              <a:avLst/>
            </a:prstGeom>
            <a:solidFill>
              <a:srgbClr val="7F1318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2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9" name="Right Triangle 118"/>
            <p:cNvSpPr/>
            <p:nvPr/>
          </p:nvSpPr>
          <p:spPr>
            <a:xfrm flipV="1">
              <a:off x="6903145" y="2013485"/>
              <a:ext cx="1280961" cy="142032"/>
            </a:xfrm>
            <a:prstGeom prst="rtTriangle">
              <a:avLst/>
            </a:prstGeom>
            <a:solidFill>
              <a:srgbClr val="BFBF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251771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4378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Replace this text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3</a:t>
            </a:fld>
            <a:r>
              <a:rPr lang="en-US" dirty="0" smtClean="0"/>
              <a:t> I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404717"/>
            <a:ext cx="7886700" cy="461665"/>
          </a:xfrm>
        </p:spPr>
        <p:txBody>
          <a:bodyPr/>
          <a:lstStyle/>
          <a:p>
            <a:r>
              <a:rPr lang="en-US" dirty="0"/>
              <a:t>BUSINESS PLAN</a:t>
            </a:r>
            <a:endParaRPr lang="en-US" dirty="0">
              <a:latin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  <p:grpSp>
        <p:nvGrpSpPr>
          <p:cNvPr id="71" name="Group 70"/>
          <p:cNvGrpSpPr/>
          <p:nvPr/>
        </p:nvGrpSpPr>
        <p:grpSpPr>
          <a:xfrm>
            <a:off x="1191514" y="3014658"/>
            <a:ext cx="3125221" cy="2758212"/>
            <a:chOff x="6765581" y="1585913"/>
            <a:chExt cx="2777777" cy="2966400"/>
          </a:xfrm>
        </p:grpSpPr>
        <p:sp>
          <p:nvSpPr>
            <p:cNvPr id="72" name="Rectangle 71"/>
            <p:cNvSpPr/>
            <p:nvPr/>
          </p:nvSpPr>
          <p:spPr>
            <a:xfrm>
              <a:off x="6903146" y="1825517"/>
              <a:ext cx="2502648" cy="2726796"/>
            </a:xfrm>
            <a:prstGeom prst="rect">
              <a:avLst/>
            </a:prstGeom>
            <a:solidFill>
              <a:srgbClr val="D5D5D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365760" rIns="182880" bIns="91440" rtlCol="0" anchor="t"/>
            <a:lstStyle/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Place your text here, this is an example text. Go a head replace with your own </a:t>
              </a:r>
              <a:r>
                <a:rPr lang="en-US" sz="1200" dirty="0" smtClean="0">
                  <a:solidFill>
                    <a:srgbClr val="000000"/>
                  </a:solidFill>
                </a:rPr>
                <a:t>text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endParaRPr lang="en-US" sz="1200" dirty="0" smtClean="0">
                <a:solidFill>
                  <a:srgbClr val="000000"/>
                </a:solidFill>
              </a:endParaRP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Place your text here, this is an example text. Go a head replace with your own </a:t>
              </a:r>
              <a:r>
                <a:rPr lang="en-US" sz="1200" dirty="0" smtClean="0">
                  <a:solidFill>
                    <a:srgbClr val="000000"/>
                  </a:solidFill>
                </a:rPr>
                <a:t>text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endParaRPr lang="en-US" sz="1200" dirty="0">
                <a:solidFill>
                  <a:srgbClr val="000000"/>
                </a:solidFill>
              </a:endParaRP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Place your text here, this is an example text. Go a head replace with your own </a:t>
              </a:r>
              <a:r>
                <a:rPr lang="en-US" sz="1200" dirty="0" smtClean="0">
                  <a:solidFill>
                    <a:srgbClr val="000000"/>
                  </a:solidFill>
                </a:rPr>
                <a:t>text</a:t>
              </a:r>
            </a:p>
          </p:txBody>
        </p:sp>
        <p:sp>
          <p:nvSpPr>
            <p:cNvPr id="73" name="Rectangle 72"/>
            <p:cNvSpPr/>
            <p:nvPr/>
          </p:nvSpPr>
          <p:spPr>
            <a:xfrm>
              <a:off x="6765581" y="1585913"/>
              <a:ext cx="2777776" cy="427572"/>
            </a:xfrm>
            <a:prstGeom prst="rect">
              <a:avLst/>
            </a:prstGeom>
            <a:solidFill>
              <a:srgbClr val="0D65AC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rtlCol="0" anchor="ctr"/>
            <a:lstStyle/>
            <a:p>
              <a:r>
                <a:rPr lang="en-US" sz="1600" b="1" dirty="0" smtClean="0">
                  <a:solidFill>
                    <a:schemeClr val="bg1"/>
                  </a:solidFill>
                </a:rPr>
                <a:t>Values and Visions</a:t>
              </a: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74" name="Right Triangle 73"/>
            <p:cNvSpPr/>
            <p:nvPr/>
          </p:nvSpPr>
          <p:spPr>
            <a:xfrm flipH="1" flipV="1">
              <a:off x="6765581" y="2013485"/>
              <a:ext cx="137564" cy="137564"/>
            </a:xfrm>
            <a:prstGeom prst="rtTriangle">
              <a:avLst/>
            </a:prstGeom>
            <a:solidFill>
              <a:srgbClr val="073D6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  <p:sp>
          <p:nvSpPr>
            <p:cNvPr id="52" name="Right Triangle 51"/>
            <p:cNvSpPr/>
            <p:nvPr/>
          </p:nvSpPr>
          <p:spPr>
            <a:xfrm flipV="1">
              <a:off x="9405794" y="2013485"/>
              <a:ext cx="137564" cy="137563"/>
            </a:xfrm>
            <a:prstGeom prst="rtTriangle">
              <a:avLst/>
            </a:prstGeom>
            <a:solidFill>
              <a:srgbClr val="073D6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4669287" y="3014658"/>
            <a:ext cx="3125220" cy="2758212"/>
            <a:chOff x="6765581" y="1585913"/>
            <a:chExt cx="2777777" cy="2966401"/>
          </a:xfrm>
        </p:grpSpPr>
        <p:sp>
          <p:nvSpPr>
            <p:cNvPr id="33" name="Rectangle 32"/>
            <p:cNvSpPr/>
            <p:nvPr/>
          </p:nvSpPr>
          <p:spPr>
            <a:xfrm>
              <a:off x="6903146" y="1825517"/>
              <a:ext cx="2502648" cy="2726797"/>
            </a:xfrm>
            <a:prstGeom prst="rect">
              <a:avLst/>
            </a:prstGeom>
            <a:solidFill>
              <a:srgbClr val="D5D5D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365760" rIns="182880" bIns="91440" rtlCol="0" anchor="t"/>
            <a:lstStyle/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Place your text here, this is an example text. Go a head replace with your own text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endParaRPr lang="en-US" sz="1200" dirty="0">
                <a:solidFill>
                  <a:srgbClr val="000000"/>
                </a:solidFill>
              </a:endParaRP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Place your text here, this is an example text. Go a head replace with your own text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endParaRPr lang="en-US" sz="1200" dirty="0">
                <a:solidFill>
                  <a:srgbClr val="000000"/>
                </a:solidFill>
              </a:endParaRP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Place your text here, this is an example text. Go a head replace with your own text</a:t>
              </a: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6765581" y="1585913"/>
              <a:ext cx="2777777" cy="427572"/>
            </a:xfrm>
            <a:prstGeom prst="rect">
              <a:avLst/>
            </a:prstGeom>
            <a:solidFill>
              <a:srgbClr val="2A9B18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rtlCol="0" anchor="ctr"/>
            <a:lstStyle/>
            <a:p>
              <a:r>
                <a:rPr lang="en-US" sz="1600" b="1" dirty="0" smtClean="0">
                  <a:solidFill>
                    <a:schemeClr val="bg1"/>
                  </a:solidFill>
                </a:rPr>
                <a:t>Missions and Goals</a:t>
              </a: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35" name="Right Triangle 34"/>
            <p:cNvSpPr/>
            <p:nvPr/>
          </p:nvSpPr>
          <p:spPr>
            <a:xfrm flipH="1" flipV="1">
              <a:off x="6765581" y="2013485"/>
              <a:ext cx="137564" cy="137564"/>
            </a:xfrm>
            <a:prstGeom prst="rtTriangle">
              <a:avLst/>
            </a:prstGeom>
            <a:solidFill>
              <a:srgbClr val="1E6911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2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3" name="Right Triangle 52"/>
            <p:cNvSpPr/>
            <p:nvPr/>
          </p:nvSpPr>
          <p:spPr>
            <a:xfrm flipV="1">
              <a:off x="9405794" y="2013485"/>
              <a:ext cx="137564" cy="137564"/>
            </a:xfrm>
            <a:prstGeom prst="rtTriangle">
              <a:avLst/>
            </a:prstGeom>
            <a:solidFill>
              <a:srgbClr val="1E6911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20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2242021" y="1763230"/>
            <a:ext cx="1024207" cy="1024207"/>
            <a:chOff x="1988940" y="1585913"/>
            <a:chExt cx="1299094" cy="1299094"/>
          </a:xfrm>
        </p:grpSpPr>
        <p:sp>
          <p:nvSpPr>
            <p:cNvPr id="8" name="Oval 7"/>
            <p:cNvSpPr/>
            <p:nvPr/>
          </p:nvSpPr>
          <p:spPr>
            <a:xfrm>
              <a:off x="1988940" y="1585913"/>
              <a:ext cx="1299094" cy="1299094"/>
            </a:xfrm>
            <a:prstGeom prst="ellipse">
              <a:avLst/>
            </a:prstGeom>
            <a:solidFill>
              <a:srgbClr val="0D65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2274601" y="1860800"/>
              <a:ext cx="727772" cy="749321"/>
              <a:chOff x="-1080031" y="1080338"/>
              <a:chExt cx="1414362" cy="1456240"/>
            </a:xfrm>
            <a:solidFill>
              <a:schemeClr val="bg1"/>
            </a:solidFill>
          </p:grpSpPr>
          <p:sp>
            <p:nvSpPr>
              <p:cNvPr id="24" name="Freeform 491"/>
              <p:cNvSpPr>
                <a:spLocks noEditPoints="1"/>
              </p:cNvSpPr>
              <p:nvPr/>
            </p:nvSpPr>
            <p:spPr bwMode="auto">
              <a:xfrm>
                <a:off x="-568255" y="2196944"/>
                <a:ext cx="293108" cy="339634"/>
              </a:xfrm>
              <a:custGeom>
                <a:avLst/>
                <a:gdLst>
                  <a:gd name="T0" fmla="*/ 213 w 314"/>
                  <a:gd name="T1" fmla="*/ 40 h 361"/>
                  <a:gd name="T2" fmla="*/ 225 w 314"/>
                  <a:gd name="T3" fmla="*/ 42 h 361"/>
                  <a:gd name="T4" fmla="*/ 246 w 314"/>
                  <a:gd name="T5" fmla="*/ 51 h 361"/>
                  <a:gd name="T6" fmla="*/ 264 w 314"/>
                  <a:gd name="T7" fmla="*/ 67 h 361"/>
                  <a:gd name="T8" fmla="*/ 273 w 314"/>
                  <a:gd name="T9" fmla="*/ 88 h 361"/>
                  <a:gd name="T10" fmla="*/ 274 w 314"/>
                  <a:gd name="T11" fmla="*/ 100 h 361"/>
                  <a:gd name="T12" fmla="*/ 274 w 314"/>
                  <a:gd name="T13" fmla="*/ 260 h 361"/>
                  <a:gd name="T14" fmla="*/ 273 w 314"/>
                  <a:gd name="T15" fmla="*/ 272 h 361"/>
                  <a:gd name="T16" fmla="*/ 264 w 314"/>
                  <a:gd name="T17" fmla="*/ 293 h 361"/>
                  <a:gd name="T18" fmla="*/ 246 w 314"/>
                  <a:gd name="T19" fmla="*/ 309 h 361"/>
                  <a:gd name="T20" fmla="*/ 225 w 314"/>
                  <a:gd name="T21" fmla="*/ 318 h 361"/>
                  <a:gd name="T22" fmla="*/ 213 w 314"/>
                  <a:gd name="T23" fmla="*/ 320 h 361"/>
                  <a:gd name="T24" fmla="*/ 101 w 314"/>
                  <a:gd name="T25" fmla="*/ 320 h 361"/>
                  <a:gd name="T26" fmla="*/ 89 w 314"/>
                  <a:gd name="T27" fmla="*/ 318 h 361"/>
                  <a:gd name="T28" fmla="*/ 67 w 314"/>
                  <a:gd name="T29" fmla="*/ 309 h 361"/>
                  <a:gd name="T30" fmla="*/ 50 w 314"/>
                  <a:gd name="T31" fmla="*/ 293 h 361"/>
                  <a:gd name="T32" fmla="*/ 41 w 314"/>
                  <a:gd name="T33" fmla="*/ 272 h 361"/>
                  <a:gd name="T34" fmla="*/ 40 w 314"/>
                  <a:gd name="T35" fmla="*/ 260 h 361"/>
                  <a:gd name="T36" fmla="*/ 40 w 314"/>
                  <a:gd name="T37" fmla="*/ 100 h 361"/>
                  <a:gd name="T38" fmla="*/ 41 w 314"/>
                  <a:gd name="T39" fmla="*/ 88 h 361"/>
                  <a:gd name="T40" fmla="*/ 50 w 314"/>
                  <a:gd name="T41" fmla="*/ 67 h 361"/>
                  <a:gd name="T42" fmla="*/ 67 w 314"/>
                  <a:gd name="T43" fmla="*/ 51 h 361"/>
                  <a:gd name="T44" fmla="*/ 89 w 314"/>
                  <a:gd name="T45" fmla="*/ 42 h 361"/>
                  <a:gd name="T46" fmla="*/ 101 w 314"/>
                  <a:gd name="T47" fmla="*/ 40 h 361"/>
                  <a:gd name="T48" fmla="*/ 213 w 314"/>
                  <a:gd name="T49" fmla="*/ 0 h 361"/>
                  <a:gd name="T50" fmla="*/ 101 w 314"/>
                  <a:gd name="T51" fmla="*/ 0 h 361"/>
                  <a:gd name="T52" fmla="*/ 81 w 314"/>
                  <a:gd name="T53" fmla="*/ 2 h 361"/>
                  <a:gd name="T54" fmla="*/ 62 w 314"/>
                  <a:gd name="T55" fmla="*/ 8 h 361"/>
                  <a:gd name="T56" fmla="*/ 44 w 314"/>
                  <a:gd name="T57" fmla="*/ 17 h 361"/>
                  <a:gd name="T58" fmla="*/ 29 w 314"/>
                  <a:gd name="T59" fmla="*/ 30 h 361"/>
                  <a:gd name="T60" fmla="*/ 17 w 314"/>
                  <a:gd name="T61" fmla="*/ 45 h 361"/>
                  <a:gd name="T62" fmla="*/ 8 w 314"/>
                  <a:gd name="T63" fmla="*/ 62 h 361"/>
                  <a:gd name="T64" fmla="*/ 2 w 314"/>
                  <a:gd name="T65" fmla="*/ 80 h 361"/>
                  <a:gd name="T66" fmla="*/ 0 w 314"/>
                  <a:gd name="T67" fmla="*/ 100 h 361"/>
                  <a:gd name="T68" fmla="*/ 0 w 314"/>
                  <a:gd name="T69" fmla="*/ 260 h 361"/>
                  <a:gd name="T70" fmla="*/ 2 w 314"/>
                  <a:gd name="T71" fmla="*/ 280 h 361"/>
                  <a:gd name="T72" fmla="*/ 8 w 314"/>
                  <a:gd name="T73" fmla="*/ 298 h 361"/>
                  <a:gd name="T74" fmla="*/ 17 w 314"/>
                  <a:gd name="T75" fmla="*/ 315 h 361"/>
                  <a:gd name="T76" fmla="*/ 29 w 314"/>
                  <a:gd name="T77" fmla="*/ 330 h 361"/>
                  <a:gd name="T78" fmla="*/ 44 w 314"/>
                  <a:gd name="T79" fmla="*/ 343 h 361"/>
                  <a:gd name="T80" fmla="*/ 62 w 314"/>
                  <a:gd name="T81" fmla="*/ 353 h 361"/>
                  <a:gd name="T82" fmla="*/ 81 w 314"/>
                  <a:gd name="T83" fmla="*/ 359 h 361"/>
                  <a:gd name="T84" fmla="*/ 101 w 314"/>
                  <a:gd name="T85" fmla="*/ 361 h 361"/>
                  <a:gd name="T86" fmla="*/ 213 w 314"/>
                  <a:gd name="T87" fmla="*/ 361 h 361"/>
                  <a:gd name="T88" fmla="*/ 233 w 314"/>
                  <a:gd name="T89" fmla="*/ 359 h 361"/>
                  <a:gd name="T90" fmla="*/ 252 w 314"/>
                  <a:gd name="T91" fmla="*/ 353 h 361"/>
                  <a:gd name="T92" fmla="*/ 270 w 314"/>
                  <a:gd name="T93" fmla="*/ 343 h 361"/>
                  <a:gd name="T94" fmla="*/ 284 w 314"/>
                  <a:gd name="T95" fmla="*/ 330 h 361"/>
                  <a:gd name="T96" fmla="*/ 297 w 314"/>
                  <a:gd name="T97" fmla="*/ 315 h 361"/>
                  <a:gd name="T98" fmla="*/ 306 w 314"/>
                  <a:gd name="T99" fmla="*/ 298 h 361"/>
                  <a:gd name="T100" fmla="*/ 312 w 314"/>
                  <a:gd name="T101" fmla="*/ 280 h 361"/>
                  <a:gd name="T102" fmla="*/ 314 w 314"/>
                  <a:gd name="T103" fmla="*/ 260 h 361"/>
                  <a:gd name="T104" fmla="*/ 314 w 314"/>
                  <a:gd name="T105" fmla="*/ 100 h 361"/>
                  <a:gd name="T106" fmla="*/ 312 w 314"/>
                  <a:gd name="T107" fmla="*/ 80 h 361"/>
                  <a:gd name="T108" fmla="*/ 306 w 314"/>
                  <a:gd name="T109" fmla="*/ 62 h 361"/>
                  <a:gd name="T110" fmla="*/ 297 w 314"/>
                  <a:gd name="T111" fmla="*/ 45 h 361"/>
                  <a:gd name="T112" fmla="*/ 284 w 314"/>
                  <a:gd name="T113" fmla="*/ 30 h 361"/>
                  <a:gd name="T114" fmla="*/ 270 w 314"/>
                  <a:gd name="T115" fmla="*/ 17 h 361"/>
                  <a:gd name="T116" fmla="*/ 252 w 314"/>
                  <a:gd name="T117" fmla="*/ 8 h 361"/>
                  <a:gd name="T118" fmla="*/ 233 w 314"/>
                  <a:gd name="T119" fmla="*/ 2 h 361"/>
                  <a:gd name="T120" fmla="*/ 213 w 314"/>
                  <a:gd name="T121" fmla="*/ 0 h 3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14" h="361">
                    <a:moveTo>
                      <a:pt x="213" y="40"/>
                    </a:moveTo>
                    <a:lnTo>
                      <a:pt x="213" y="40"/>
                    </a:lnTo>
                    <a:lnTo>
                      <a:pt x="219" y="41"/>
                    </a:lnTo>
                    <a:lnTo>
                      <a:pt x="225" y="42"/>
                    </a:lnTo>
                    <a:lnTo>
                      <a:pt x="236" y="45"/>
                    </a:lnTo>
                    <a:lnTo>
                      <a:pt x="246" y="51"/>
                    </a:lnTo>
                    <a:lnTo>
                      <a:pt x="256" y="58"/>
                    </a:lnTo>
                    <a:lnTo>
                      <a:pt x="264" y="67"/>
                    </a:lnTo>
                    <a:lnTo>
                      <a:pt x="269" y="77"/>
                    </a:lnTo>
                    <a:lnTo>
                      <a:pt x="273" y="88"/>
                    </a:lnTo>
                    <a:lnTo>
                      <a:pt x="274" y="94"/>
                    </a:lnTo>
                    <a:lnTo>
                      <a:pt x="274" y="100"/>
                    </a:lnTo>
                    <a:lnTo>
                      <a:pt x="274" y="260"/>
                    </a:lnTo>
                    <a:lnTo>
                      <a:pt x="274" y="260"/>
                    </a:lnTo>
                    <a:lnTo>
                      <a:pt x="274" y="266"/>
                    </a:lnTo>
                    <a:lnTo>
                      <a:pt x="273" y="272"/>
                    </a:lnTo>
                    <a:lnTo>
                      <a:pt x="269" y="283"/>
                    </a:lnTo>
                    <a:lnTo>
                      <a:pt x="264" y="293"/>
                    </a:lnTo>
                    <a:lnTo>
                      <a:pt x="256" y="302"/>
                    </a:lnTo>
                    <a:lnTo>
                      <a:pt x="246" y="309"/>
                    </a:lnTo>
                    <a:lnTo>
                      <a:pt x="236" y="315"/>
                    </a:lnTo>
                    <a:lnTo>
                      <a:pt x="225" y="318"/>
                    </a:lnTo>
                    <a:lnTo>
                      <a:pt x="219" y="319"/>
                    </a:lnTo>
                    <a:lnTo>
                      <a:pt x="213" y="320"/>
                    </a:lnTo>
                    <a:lnTo>
                      <a:pt x="101" y="320"/>
                    </a:lnTo>
                    <a:lnTo>
                      <a:pt x="101" y="320"/>
                    </a:lnTo>
                    <a:lnTo>
                      <a:pt x="95" y="319"/>
                    </a:lnTo>
                    <a:lnTo>
                      <a:pt x="89" y="318"/>
                    </a:lnTo>
                    <a:lnTo>
                      <a:pt x="78" y="315"/>
                    </a:lnTo>
                    <a:lnTo>
                      <a:pt x="67" y="309"/>
                    </a:lnTo>
                    <a:lnTo>
                      <a:pt x="58" y="302"/>
                    </a:lnTo>
                    <a:lnTo>
                      <a:pt x="50" y="293"/>
                    </a:lnTo>
                    <a:lnTo>
                      <a:pt x="45" y="283"/>
                    </a:lnTo>
                    <a:lnTo>
                      <a:pt x="41" y="272"/>
                    </a:lnTo>
                    <a:lnTo>
                      <a:pt x="40" y="266"/>
                    </a:lnTo>
                    <a:lnTo>
                      <a:pt x="40" y="260"/>
                    </a:lnTo>
                    <a:lnTo>
                      <a:pt x="40" y="100"/>
                    </a:lnTo>
                    <a:lnTo>
                      <a:pt x="40" y="100"/>
                    </a:lnTo>
                    <a:lnTo>
                      <a:pt x="40" y="94"/>
                    </a:lnTo>
                    <a:lnTo>
                      <a:pt x="41" y="88"/>
                    </a:lnTo>
                    <a:lnTo>
                      <a:pt x="45" y="77"/>
                    </a:lnTo>
                    <a:lnTo>
                      <a:pt x="50" y="67"/>
                    </a:lnTo>
                    <a:lnTo>
                      <a:pt x="58" y="58"/>
                    </a:lnTo>
                    <a:lnTo>
                      <a:pt x="67" y="51"/>
                    </a:lnTo>
                    <a:lnTo>
                      <a:pt x="78" y="45"/>
                    </a:lnTo>
                    <a:lnTo>
                      <a:pt x="89" y="42"/>
                    </a:lnTo>
                    <a:lnTo>
                      <a:pt x="95" y="41"/>
                    </a:lnTo>
                    <a:lnTo>
                      <a:pt x="101" y="40"/>
                    </a:lnTo>
                    <a:lnTo>
                      <a:pt x="213" y="40"/>
                    </a:lnTo>
                    <a:close/>
                    <a:moveTo>
                      <a:pt x="213" y="0"/>
                    </a:moveTo>
                    <a:lnTo>
                      <a:pt x="101" y="0"/>
                    </a:lnTo>
                    <a:lnTo>
                      <a:pt x="101" y="0"/>
                    </a:lnTo>
                    <a:lnTo>
                      <a:pt x="91" y="1"/>
                    </a:lnTo>
                    <a:lnTo>
                      <a:pt x="81" y="2"/>
                    </a:lnTo>
                    <a:lnTo>
                      <a:pt x="71" y="5"/>
                    </a:lnTo>
                    <a:lnTo>
                      <a:pt x="62" y="8"/>
                    </a:lnTo>
                    <a:lnTo>
                      <a:pt x="52" y="12"/>
                    </a:lnTo>
                    <a:lnTo>
                      <a:pt x="44" y="17"/>
                    </a:lnTo>
                    <a:lnTo>
                      <a:pt x="36" y="23"/>
                    </a:lnTo>
                    <a:lnTo>
                      <a:pt x="29" y="30"/>
                    </a:lnTo>
                    <a:lnTo>
                      <a:pt x="23" y="37"/>
                    </a:lnTo>
                    <a:lnTo>
                      <a:pt x="17" y="45"/>
                    </a:lnTo>
                    <a:lnTo>
                      <a:pt x="12" y="53"/>
                    </a:lnTo>
                    <a:lnTo>
                      <a:pt x="8" y="62"/>
                    </a:lnTo>
                    <a:lnTo>
                      <a:pt x="4" y="71"/>
                    </a:lnTo>
                    <a:lnTo>
                      <a:pt x="2" y="80"/>
                    </a:lnTo>
                    <a:lnTo>
                      <a:pt x="0" y="90"/>
                    </a:lnTo>
                    <a:lnTo>
                      <a:pt x="0" y="100"/>
                    </a:lnTo>
                    <a:lnTo>
                      <a:pt x="0" y="260"/>
                    </a:lnTo>
                    <a:lnTo>
                      <a:pt x="0" y="260"/>
                    </a:lnTo>
                    <a:lnTo>
                      <a:pt x="0" y="270"/>
                    </a:lnTo>
                    <a:lnTo>
                      <a:pt x="2" y="280"/>
                    </a:lnTo>
                    <a:lnTo>
                      <a:pt x="4" y="289"/>
                    </a:lnTo>
                    <a:lnTo>
                      <a:pt x="8" y="298"/>
                    </a:lnTo>
                    <a:lnTo>
                      <a:pt x="12" y="307"/>
                    </a:lnTo>
                    <a:lnTo>
                      <a:pt x="17" y="315"/>
                    </a:lnTo>
                    <a:lnTo>
                      <a:pt x="23" y="323"/>
                    </a:lnTo>
                    <a:lnTo>
                      <a:pt x="29" y="330"/>
                    </a:lnTo>
                    <a:lnTo>
                      <a:pt x="36" y="337"/>
                    </a:lnTo>
                    <a:lnTo>
                      <a:pt x="44" y="343"/>
                    </a:lnTo>
                    <a:lnTo>
                      <a:pt x="52" y="349"/>
                    </a:lnTo>
                    <a:lnTo>
                      <a:pt x="62" y="353"/>
                    </a:lnTo>
                    <a:lnTo>
                      <a:pt x="71" y="356"/>
                    </a:lnTo>
                    <a:lnTo>
                      <a:pt x="81" y="359"/>
                    </a:lnTo>
                    <a:lnTo>
                      <a:pt x="91" y="360"/>
                    </a:lnTo>
                    <a:lnTo>
                      <a:pt x="101" y="361"/>
                    </a:lnTo>
                    <a:lnTo>
                      <a:pt x="213" y="361"/>
                    </a:lnTo>
                    <a:lnTo>
                      <a:pt x="213" y="361"/>
                    </a:lnTo>
                    <a:lnTo>
                      <a:pt x="223" y="360"/>
                    </a:lnTo>
                    <a:lnTo>
                      <a:pt x="233" y="359"/>
                    </a:lnTo>
                    <a:lnTo>
                      <a:pt x="243" y="356"/>
                    </a:lnTo>
                    <a:lnTo>
                      <a:pt x="252" y="353"/>
                    </a:lnTo>
                    <a:lnTo>
                      <a:pt x="261" y="349"/>
                    </a:lnTo>
                    <a:lnTo>
                      <a:pt x="270" y="343"/>
                    </a:lnTo>
                    <a:lnTo>
                      <a:pt x="277" y="337"/>
                    </a:lnTo>
                    <a:lnTo>
                      <a:pt x="284" y="330"/>
                    </a:lnTo>
                    <a:lnTo>
                      <a:pt x="291" y="323"/>
                    </a:lnTo>
                    <a:lnTo>
                      <a:pt x="297" y="315"/>
                    </a:lnTo>
                    <a:lnTo>
                      <a:pt x="302" y="307"/>
                    </a:lnTo>
                    <a:lnTo>
                      <a:pt x="306" y="298"/>
                    </a:lnTo>
                    <a:lnTo>
                      <a:pt x="309" y="289"/>
                    </a:lnTo>
                    <a:lnTo>
                      <a:pt x="312" y="280"/>
                    </a:lnTo>
                    <a:lnTo>
                      <a:pt x="313" y="270"/>
                    </a:lnTo>
                    <a:lnTo>
                      <a:pt x="314" y="260"/>
                    </a:lnTo>
                    <a:lnTo>
                      <a:pt x="314" y="100"/>
                    </a:lnTo>
                    <a:lnTo>
                      <a:pt x="314" y="100"/>
                    </a:lnTo>
                    <a:lnTo>
                      <a:pt x="313" y="90"/>
                    </a:lnTo>
                    <a:lnTo>
                      <a:pt x="312" y="80"/>
                    </a:lnTo>
                    <a:lnTo>
                      <a:pt x="309" y="71"/>
                    </a:lnTo>
                    <a:lnTo>
                      <a:pt x="306" y="62"/>
                    </a:lnTo>
                    <a:lnTo>
                      <a:pt x="302" y="53"/>
                    </a:lnTo>
                    <a:lnTo>
                      <a:pt x="297" y="45"/>
                    </a:lnTo>
                    <a:lnTo>
                      <a:pt x="291" y="37"/>
                    </a:lnTo>
                    <a:lnTo>
                      <a:pt x="284" y="30"/>
                    </a:lnTo>
                    <a:lnTo>
                      <a:pt x="277" y="23"/>
                    </a:lnTo>
                    <a:lnTo>
                      <a:pt x="270" y="17"/>
                    </a:lnTo>
                    <a:lnTo>
                      <a:pt x="261" y="12"/>
                    </a:lnTo>
                    <a:lnTo>
                      <a:pt x="252" y="8"/>
                    </a:lnTo>
                    <a:lnTo>
                      <a:pt x="243" y="5"/>
                    </a:lnTo>
                    <a:lnTo>
                      <a:pt x="233" y="2"/>
                    </a:lnTo>
                    <a:lnTo>
                      <a:pt x="223" y="1"/>
                    </a:lnTo>
                    <a:lnTo>
                      <a:pt x="213" y="0"/>
                    </a:lnTo>
                    <a:lnTo>
                      <a:pt x="213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494"/>
              <p:cNvSpPr>
                <a:spLocks/>
              </p:cNvSpPr>
              <p:nvPr/>
            </p:nvSpPr>
            <p:spPr bwMode="auto">
              <a:xfrm>
                <a:off x="-796228" y="1392057"/>
                <a:ext cx="749053" cy="893284"/>
              </a:xfrm>
              <a:custGeom>
                <a:avLst/>
                <a:gdLst>
                  <a:gd name="T0" fmla="*/ 380 w 802"/>
                  <a:gd name="T1" fmla="*/ 1 h 962"/>
                  <a:gd name="T2" fmla="*/ 320 w 802"/>
                  <a:gd name="T3" fmla="*/ 8 h 962"/>
                  <a:gd name="T4" fmla="*/ 262 w 802"/>
                  <a:gd name="T5" fmla="*/ 26 h 962"/>
                  <a:gd name="T6" fmla="*/ 209 w 802"/>
                  <a:gd name="T7" fmla="*/ 49 h 962"/>
                  <a:gd name="T8" fmla="*/ 161 w 802"/>
                  <a:gd name="T9" fmla="*/ 80 h 962"/>
                  <a:gd name="T10" fmla="*/ 117 w 802"/>
                  <a:gd name="T11" fmla="*/ 118 h 962"/>
                  <a:gd name="T12" fmla="*/ 79 w 802"/>
                  <a:gd name="T13" fmla="*/ 161 h 962"/>
                  <a:gd name="T14" fmla="*/ 48 w 802"/>
                  <a:gd name="T15" fmla="*/ 210 h 962"/>
                  <a:gd name="T16" fmla="*/ 24 w 802"/>
                  <a:gd name="T17" fmla="*/ 264 h 962"/>
                  <a:gd name="T18" fmla="*/ 8 w 802"/>
                  <a:gd name="T19" fmla="*/ 320 h 962"/>
                  <a:gd name="T20" fmla="*/ 0 w 802"/>
                  <a:gd name="T21" fmla="*/ 380 h 962"/>
                  <a:gd name="T22" fmla="*/ 0 w 802"/>
                  <a:gd name="T23" fmla="*/ 425 h 962"/>
                  <a:gd name="T24" fmla="*/ 10 w 802"/>
                  <a:gd name="T25" fmla="*/ 492 h 962"/>
                  <a:gd name="T26" fmla="*/ 30 w 802"/>
                  <a:gd name="T27" fmla="*/ 556 h 962"/>
                  <a:gd name="T28" fmla="*/ 61 w 802"/>
                  <a:gd name="T29" fmla="*/ 614 h 962"/>
                  <a:gd name="T30" fmla="*/ 101 w 802"/>
                  <a:gd name="T31" fmla="*/ 667 h 962"/>
                  <a:gd name="T32" fmla="*/ 148 w 802"/>
                  <a:gd name="T33" fmla="*/ 712 h 962"/>
                  <a:gd name="T34" fmla="*/ 159 w 802"/>
                  <a:gd name="T35" fmla="*/ 728 h 962"/>
                  <a:gd name="T36" fmla="*/ 182 w 802"/>
                  <a:gd name="T37" fmla="*/ 790 h 962"/>
                  <a:gd name="T38" fmla="*/ 212 w 802"/>
                  <a:gd name="T39" fmla="*/ 885 h 962"/>
                  <a:gd name="T40" fmla="*/ 231 w 802"/>
                  <a:gd name="T41" fmla="*/ 926 h 962"/>
                  <a:gd name="T42" fmla="*/ 244 w 802"/>
                  <a:gd name="T43" fmla="*/ 939 h 962"/>
                  <a:gd name="T44" fmla="*/ 280 w 802"/>
                  <a:gd name="T45" fmla="*/ 951 h 962"/>
                  <a:gd name="T46" fmla="*/ 340 w 802"/>
                  <a:gd name="T47" fmla="*/ 960 h 962"/>
                  <a:gd name="T48" fmla="*/ 401 w 802"/>
                  <a:gd name="T49" fmla="*/ 962 h 962"/>
                  <a:gd name="T50" fmla="*/ 482 w 802"/>
                  <a:gd name="T51" fmla="*/ 958 h 962"/>
                  <a:gd name="T52" fmla="*/ 540 w 802"/>
                  <a:gd name="T53" fmla="*/ 945 h 962"/>
                  <a:gd name="T54" fmla="*/ 562 w 802"/>
                  <a:gd name="T55" fmla="*/ 936 h 962"/>
                  <a:gd name="T56" fmla="*/ 578 w 802"/>
                  <a:gd name="T57" fmla="*/ 913 h 962"/>
                  <a:gd name="T58" fmla="*/ 597 w 802"/>
                  <a:gd name="T59" fmla="*/ 866 h 962"/>
                  <a:gd name="T60" fmla="*/ 633 w 802"/>
                  <a:gd name="T61" fmla="*/ 753 h 962"/>
                  <a:gd name="T62" fmla="*/ 650 w 802"/>
                  <a:gd name="T63" fmla="*/ 716 h 962"/>
                  <a:gd name="T64" fmla="*/ 672 w 802"/>
                  <a:gd name="T65" fmla="*/ 696 h 962"/>
                  <a:gd name="T66" fmla="*/ 717 w 802"/>
                  <a:gd name="T67" fmla="*/ 648 h 962"/>
                  <a:gd name="T68" fmla="*/ 753 w 802"/>
                  <a:gd name="T69" fmla="*/ 594 h 962"/>
                  <a:gd name="T70" fmla="*/ 779 w 802"/>
                  <a:gd name="T71" fmla="*/ 534 h 962"/>
                  <a:gd name="T72" fmla="*/ 796 w 802"/>
                  <a:gd name="T73" fmla="*/ 470 h 962"/>
                  <a:gd name="T74" fmla="*/ 802 w 802"/>
                  <a:gd name="T75" fmla="*/ 401 h 962"/>
                  <a:gd name="T76" fmla="*/ 800 w 802"/>
                  <a:gd name="T77" fmla="*/ 360 h 962"/>
                  <a:gd name="T78" fmla="*/ 789 w 802"/>
                  <a:gd name="T79" fmla="*/ 301 h 962"/>
                  <a:gd name="T80" fmla="*/ 770 w 802"/>
                  <a:gd name="T81" fmla="*/ 246 h 962"/>
                  <a:gd name="T82" fmla="*/ 744 w 802"/>
                  <a:gd name="T83" fmla="*/ 193 h 962"/>
                  <a:gd name="T84" fmla="*/ 711 w 802"/>
                  <a:gd name="T85" fmla="*/ 146 h 962"/>
                  <a:gd name="T86" fmla="*/ 670 w 802"/>
                  <a:gd name="T87" fmla="*/ 105 h 962"/>
                  <a:gd name="T88" fmla="*/ 625 w 802"/>
                  <a:gd name="T89" fmla="*/ 69 h 962"/>
                  <a:gd name="T90" fmla="*/ 575 w 802"/>
                  <a:gd name="T91" fmla="*/ 41 h 962"/>
                  <a:gd name="T92" fmla="*/ 520 w 802"/>
                  <a:gd name="T93" fmla="*/ 19 h 962"/>
                  <a:gd name="T94" fmla="*/ 461 w 802"/>
                  <a:gd name="T95" fmla="*/ 5 h 962"/>
                  <a:gd name="T96" fmla="*/ 401 w 802"/>
                  <a:gd name="T97" fmla="*/ 0 h 9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02" h="962">
                    <a:moveTo>
                      <a:pt x="401" y="0"/>
                    </a:moveTo>
                    <a:lnTo>
                      <a:pt x="401" y="0"/>
                    </a:lnTo>
                    <a:lnTo>
                      <a:pt x="380" y="1"/>
                    </a:lnTo>
                    <a:lnTo>
                      <a:pt x="360" y="2"/>
                    </a:lnTo>
                    <a:lnTo>
                      <a:pt x="340" y="5"/>
                    </a:lnTo>
                    <a:lnTo>
                      <a:pt x="320" y="8"/>
                    </a:lnTo>
                    <a:lnTo>
                      <a:pt x="301" y="13"/>
                    </a:lnTo>
                    <a:lnTo>
                      <a:pt x="281" y="19"/>
                    </a:lnTo>
                    <a:lnTo>
                      <a:pt x="262" y="26"/>
                    </a:lnTo>
                    <a:lnTo>
                      <a:pt x="244" y="33"/>
                    </a:lnTo>
                    <a:lnTo>
                      <a:pt x="227" y="41"/>
                    </a:lnTo>
                    <a:lnTo>
                      <a:pt x="209" y="49"/>
                    </a:lnTo>
                    <a:lnTo>
                      <a:pt x="193" y="59"/>
                    </a:lnTo>
                    <a:lnTo>
                      <a:pt x="177" y="69"/>
                    </a:lnTo>
                    <a:lnTo>
                      <a:pt x="161" y="80"/>
                    </a:lnTo>
                    <a:lnTo>
                      <a:pt x="146" y="92"/>
                    </a:lnTo>
                    <a:lnTo>
                      <a:pt x="131" y="105"/>
                    </a:lnTo>
                    <a:lnTo>
                      <a:pt x="117" y="118"/>
                    </a:lnTo>
                    <a:lnTo>
                      <a:pt x="104" y="132"/>
                    </a:lnTo>
                    <a:lnTo>
                      <a:pt x="91" y="146"/>
                    </a:lnTo>
                    <a:lnTo>
                      <a:pt x="79" y="161"/>
                    </a:lnTo>
                    <a:lnTo>
                      <a:pt x="68" y="177"/>
                    </a:lnTo>
                    <a:lnTo>
                      <a:pt x="57" y="193"/>
                    </a:lnTo>
                    <a:lnTo>
                      <a:pt x="48" y="210"/>
                    </a:lnTo>
                    <a:lnTo>
                      <a:pt x="39" y="228"/>
                    </a:lnTo>
                    <a:lnTo>
                      <a:pt x="31" y="246"/>
                    </a:lnTo>
                    <a:lnTo>
                      <a:pt x="24" y="264"/>
                    </a:lnTo>
                    <a:lnTo>
                      <a:pt x="17" y="282"/>
                    </a:lnTo>
                    <a:lnTo>
                      <a:pt x="12" y="301"/>
                    </a:lnTo>
                    <a:lnTo>
                      <a:pt x="8" y="320"/>
                    </a:lnTo>
                    <a:lnTo>
                      <a:pt x="4" y="340"/>
                    </a:lnTo>
                    <a:lnTo>
                      <a:pt x="2" y="360"/>
                    </a:lnTo>
                    <a:lnTo>
                      <a:pt x="0" y="380"/>
                    </a:lnTo>
                    <a:lnTo>
                      <a:pt x="0" y="401"/>
                    </a:lnTo>
                    <a:lnTo>
                      <a:pt x="0" y="401"/>
                    </a:lnTo>
                    <a:lnTo>
                      <a:pt x="0" y="425"/>
                    </a:lnTo>
                    <a:lnTo>
                      <a:pt x="2" y="448"/>
                    </a:lnTo>
                    <a:lnTo>
                      <a:pt x="5" y="470"/>
                    </a:lnTo>
                    <a:lnTo>
                      <a:pt x="10" y="492"/>
                    </a:lnTo>
                    <a:lnTo>
                      <a:pt x="16" y="514"/>
                    </a:lnTo>
                    <a:lnTo>
                      <a:pt x="22" y="535"/>
                    </a:lnTo>
                    <a:lnTo>
                      <a:pt x="30" y="556"/>
                    </a:lnTo>
                    <a:lnTo>
                      <a:pt x="40" y="576"/>
                    </a:lnTo>
                    <a:lnTo>
                      <a:pt x="50" y="595"/>
                    </a:lnTo>
                    <a:lnTo>
                      <a:pt x="61" y="614"/>
                    </a:lnTo>
                    <a:lnTo>
                      <a:pt x="73" y="633"/>
                    </a:lnTo>
                    <a:lnTo>
                      <a:pt x="86" y="650"/>
                    </a:lnTo>
                    <a:lnTo>
                      <a:pt x="101" y="667"/>
                    </a:lnTo>
                    <a:lnTo>
                      <a:pt x="116" y="683"/>
                    </a:lnTo>
                    <a:lnTo>
                      <a:pt x="132" y="698"/>
                    </a:lnTo>
                    <a:lnTo>
                      <a:pt x="148" y="712"/>
                    </a:lnTo>
                    <a:lnTo>
                      <a:pt x="148" y="712"/>
                    </a:lnTo>
                    <a:lnTo>
                      <a:pt x="154" y="718"/>
                    </a:lnTo>
                    <a:lnTo>
                      <a:pt x="159" y="728"/>
                    </a:lnTo>
                    <a:lnTo>
                      <a:pt x="165" y="740"/>
                    </a:lnTo>
                    <a:lnTo>
                      <a:pt x="170" y="755"/>
                    </a:lnTo>
                    <a:lnTo>
                      <a:pt x="182" y="790"/>
                    </a:lnTo>
                    <a:lnTo>
                      <a:pt x="194" y="829"/>
                    </a:lnTo>
                    <a:lnTo>
                      <a:pt x="206" y="867"/>
                    </a:lnTo>
                    <a:lnTo>
                      <a:pt x="212" y="885"/>
                    </a:lnTo>
                    <a:lnTo>
                      <a:pt x="218" y="901"/>
                    </a:lnTo>
                    <a:lnTo>
                      <a:pt x="224" y="914"/>
                    </a:lnTo>
                    <a:lnTo>
                      <a:pt x="231" y="926"/>
                    </a:lnTo>
                    <a:lnTo>
                      <a:pt x="237" y="934"/>
                    </a:lnTo>
                    <a:lnTo>
                      <a:pt x="240" y="937"/>
                    </a:lnTo>
                    <a:lnTo>
                      <a:pt x="244" y="939"/>
                    </a:lnTo>
                    <a:lnTo>
                      <a:pt x="244" y="939"/>
                    </a:lnTo>
                    <a:lnTo>
                      <a:pt x="262" y="945"/>
                    </a:lnTo>
                    <a:lnTo>
                      <a:pt x="280" y="951"/>
                    </a:lnTo>
                    <a:lnTo>
                      <a:pt x="300" y="955"/>
                    </a:lnTo>
                    <a:lnTo>
                      <a:pt x="320" y="958"/>
                    </a:lnTo>
                    <a:lnTo>
                      <a:pt x="340" y="960"/>
                    </a:lnTo>
                    <a:lnTo>
                      <a:pt x="360" y="961"/>
                    </a:lnTo>
                    <a:lnTo>
                      <a:pt x="401" y="962"/>
                    </a:lnTo>
                    <a:lnTo>
                      <a:pt x="401" y="962"/>
                    </a:lnTo>
                    <a:lnTo>
                      <a:pt x="442" y="961"/>
                    </a:lnTo>
                    <a:lnTo>
                      <a:pt x="462" y="960"/>
                    </a:lnTo>
                    <a:lnTo>
                      <a:pt x="482" y="958"/>
                    </a:lnTo>
                    <a:lnTo>
                      <a:pt x="502" y="954"/>
                    </a:lnTo>
                    <a:lnTo>
                      <a:pt x="521" y="950"/>
                    </a:lnTo>
                    <a:lnTo>
                      <a:pt x="540" y="945"/>
                    </a:lnTo>
                    <a:lnTo>
                      <a:pt x="558" y="938"/>
                    </a:lnTo>
                    <a:lnTo>
                      <a:pt x="558" y="938"/>
                    </a:lnTo>
                    <a:lnTo>
                      <a:pt x="562" y="936"/>
                    </a:lnTo>
                    <a:lnTo>
                      <a:pt x="565" y="933"/>
                    </a:lnTo>
                    <a:lnTo>
                      <a:pt x="572" y="925"/>
                    </a:lnTo>
                    <a:lnTo>
                      <a:pt x="578" y="913"/>
                    </a:lnTo>
                    <a:lnTo>
                      <a:pt x="584" y="899"/>
                    </a:lnTo>
                    <a:lnTo>
                      <a:pt x="591" y="883"/>
                    </a:lnTo>
                    <a:lnTo>
                      <a:pt x="597" y="866"/>
                    </a:lnTo>
                    <a:lnTo>
                      <a:pt x="609" y="828"/>
                    </a:lnTo>
                    <a:lnTo>
                      <a:pt x="621" y="788"/>
                    </a:lnTo>
                    <a:lnTo>
                      <a:pt x="633" y="753"/>
                    </a:lnTo>
                    <a:lnTo>
                      <a:pt x="639" y="739"/>
                    </a:lnTo>
                    <a:lnTo>
                      <a:pt x="645" y="726"/>
                    </a:lnTo>
                    <a:lnTo>
                      <a:pt x="650" y="716"/>
                    </a:lnTo>
                    <a:lnTo>
                      <a:pt x="656" y="710"/>
                    </a:lnTo>
                    <a:lnTo>
                      <a:pt x="656" y="710"/>
                    </a:lnTo>
                    <a:lnTo>
                      <a:pt x="672" y="696"/>
                    </a:lnTo>
                    <a:lnTo>
                      <a:pt x="687" y="681"/>
                    </a:lnTo>
                    <a:lnTo>
                      <a:pt x="703" y="665"/>
                    </a:lnTo>
                    <a:lnTo>
                      <a:pt x="717" y="648"/>
                    </a:lnTo>
                    <a:lnTo>
                      <a:pt x="730" y="631"/>
                    </a:lnTo>
                    <a:lnTo>
                      <a:pt x="742" y="612"/>
                    </a:lnTo>
                    <a:lnTo>
                      <a:pt x="753" y="594"/>
                    </a:lnTo>
                    <a:lnTo>
                      <a:pt x="763" y="574"/>
                    </a:lnTo>
                    <a:lnTo>
                      <a:pt x="771" y="554"/>
                    </a:lnTo>
                    <a:lnTo>
                      <a:pt x="779" y="534"/>
                    </a:lnTo>
                    <a:lnTo>
                      <a:pt x="786" y="513"/>
                    </a:lnTo>
                    <a:lnTo>
                      <a:pt x="792" y="492"/>
                    </a:lnTo>
                    <a:lnTo>
                      <a:pt x="796" y="470"/>
                    </a:lnTo>
                    <a:lnTo>
                      <a:pt x="799" y="447"/>
                    </a:lnTo>
                    <a:lnTo>
                      <a:pt x="801" y="425"/>
                    </a:lnTo>
                    <a:lnTo>
                      <a:pt x="802" y="401"/>
                    </a:lnTo>
                    <a:lnTo>
                      <a:pt x="802" y="401"/>
                    </a:lnTo>
                    <a:lnTo>
                      <a:pt x="801" y="380"/>
                    </a:lnTo>
                    <a:lnTo>
                      <a:pt x="800" y="360"/>
                    </a:lnTo>
                    <a:lnTo>
                      <a:pt x="797" y="340"/>
                    </a:lnTo>
                    <a:lnTo>
                      <a:pt x="794" y="320"/>
                    </a:lnTo>
                    <a:lnTo>
                      <a:pt x="789" y="301"/>
                    </a:lnTo>
                    <a:lnTo>
                      <a:pt x="784" y="282"/>
                    </a:lnTo>
                    <a:lnTo>
                      <a:pt x="778" y="264"/>
                    </a:lnTo>
                    <a:lnTo>
                      <a:pt x="770" y="246"/>
                    </a:lnTo>
                    <a:lnTo>
                      <a:pt x="762" y="228"/>
                    </a:lnTo>
                    <a:lnTo>
                      <a:pt x="754" y="210"/>
                    </a:lnTo>
                    <a:lnTo>
                      <a:pt x="744" y="193"/>
                    </a:lnTo>
                    <a:lnTo>
                      <a:pt x="734" y="177"/>
                    </a:lnTo>
                    <a:lnTo>
                      <a:pt x="723" y="161"/>
                    </a:lnTo>
                    <a:lnTo>
                      <a:pt x="711" y="146"/>
                    </a:lnTo>
                    <a:lnTo>
                      <a:pt x="698" y="132"/>
                    </a:lnTo>
                    <a:lnTo>
                      <a:pt x="684" y="118"/>
                    </a:lnTo>
                    <a:lnTo>
                      <a:pt x="670" y="105"/>
                    </a:lnTo>
                    <a:lnTo>
                      <a:pt x="656" y="92"/>
                    </a:lnTo>
                    <a:lnTo>
                      <a:pt x="641" y="80"/>
                    </a:lnTo>
                    <a:lnTo>
                      <a:pt x="625" y="69"/>
                    </a:lnTo>
                    <a:lnTo>
                      <a:pt x="609" y="59"/>
                    </a:lnTo>
                    <a:lnTo>
                      <a:pt x="592" y="49"/>
                    </a:lnTo>
                    <a:lnTo>
                      <a:pt x="575" y="41"/>
                    </a:lnTo>
                    <a:lnTo>
                      <a:pt x="557" y="33"/>
                    </a:lnTo>
                    <a:lnTo>
                      <a:pt x="539" y="26"/>
                    </a:lnTo>
                    <a:lnTo>
                      <a:pt x="520" y="19"/>
                    </a:lnTo>
                    <a:lnTo>
                      <a:pt x="501" y="13"/>
                    </a:lnTo>
                    <a:lnTo>
                      <a:pt x="481" y="8"/>
                    </a:lnTo>
                    <a:lnTo>
                      <a:pt x="461" y="5"/>
                    </a:lnTo>
                    <a:lnTo>
                      <a:pt x="442" y="2"/>
                    </a:lnTo>
                    <a:lnTo>
                      <a:pt x="421" y="1"/>
                    </a:lnTo>
                    <a:lnTo>
                      <a:pt x="401" y="0"/>
                    </a:lnTo>
                    <a:lnTo>
                      <a:pt x="401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95"/>
              <p:cNvSpPr>
                <a:spLocks noChangeArrowheads="1"/>
              </p:cNvSpPr>
              <p:nvPr/>
            </p:nvSpPr>
            <p:spPr bwMode="auto">
              <a:xfrm>
                <a:off x="-437985" y="1080338"/>
                <a:ext cx="32568" cy="237279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496"/>
              <p:cNvSpPr>
                <a:spLocks/>
              </p:cNvSpPr>
              <p:nvPr/>
            </p:nvSpPr>
            <p:spPr bwMode="auto">
              <a:xfrm>
                <a:off x="-437985" y="1080338"/>
                <a:ext cx="32568" cy="237279"/>
              </a:xfrm>
              <a:custGeom>
                <a:avLst/>
                <a:gdLst>
                  <a:gd name="T0" fmla="*/ 36 w 36"/>
                  <a:gd name="T1" fmla="*/ 255 h 255"/>
                  <a:gd name="T2" fmla="*/ 36 w 36"/>
                  <a:gd name="T3" fmla="*/ 0 h 255"/>
                  <a:gd name="T4" fmla="*/ 0 w 36"/>
                  <a:gd name="T5" fmla="*/ 0 h 255"/>
                  <a:gd name="T6" fmla="*/ 0 w 36"/>
                  <a:gd name="T7" fmla="*/ 255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255">
                    <a:moveTo>
                      <a:pt x="36" y="255"/>
                    </a:moveTo>
                    <a:lnTo>
                      <a:pt x="36" y="0"/>
                    </a:lnTo>
                    <a:lnTo>
                      <a:pt x="0" y="0"/>
                    </a:lnTo>
                    <a:lnTo>
                      <a:pt x="0" y="255"/>
                    </a:lnTo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Rectangle 499"/>
              <p:cNvSpPr>
                <a:spLocks noChangeArrowheads="1"/>
              </p:cNvSpPr>
              <p:nvPr/>
            </p:nvSpPr>
            <p:spPr bwMode="auto">
              <a:xfrm>
                <a:off x="124968" y="1787522"/>
                <a:ext cx="209363" cy="37220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500"/>
              <p:cNvSpPr>
                <a:spLocks/>
              </p:cNvSpPr>
              <p:nvPr/>
            </p:nvSpPr>
            <p:spPr bwMode="auto">
              <a:xfrm>
                <a:off x="41925" y="1787523"/>
                <a:ext cx="209364" cy="37220"/>
              </a:xfrm>
              <a:custGeom>
                <a:avLst/>
                <a:gdLst>
                  <a:gd name="T0" fmla="*/ 0 w 225"/>
                  <a:gd name="T1" fmla="*/ 40 h 40"/>
                  <a:gd name="T2" fmla="*/ 225 w 225"/>
                  <a:gd name="T3" fmla="*/ 40 h 40"/>
                  <a:gd name="T4" fmla="*/ 225 w 225"/>
                  <a:gd name="T5" fmla="*/ 0 h 40"/>
                  <a:gd name="T6" fmla="*/ 0 w 225"/>
                  <a:gd name="T7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5" h="40">
                    <a:moveTo>
                      <a:pt x="0" y="40"/>
                    </a:moveTo>
                    <a:lnTo>
                      <a:pt x="225" y="40"/>
                    </a:lnTo>
                    <a:lnTo>
                      <a:pt x="225" y="0"/>
                    </a:ln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Rectangle 501"/>
              <p:cNvSpPr>
                <a:spLocks noChangeArrowheads="1"/>
              </p:cNvSpPr>
              <p:nvPr/>
            </p:nvSpPr>
            <p:spPr bwMode="auto">
              <a:xfrm>
                <a:off x="-1080031" y="1787522"/>
                <a:ext cx="204710" cy="37220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502"/>
              <p:cNvSpPr>
                <a:spLocks/>
              </p:cNvSpPr>
              <p:nvPr/>
            </p:nvSpPr>
            <p:spPr bwMode="auto">
              <a:xfrm>
                <a:off x="-103005" y="1252481"/>
                <a:ext cx="200058" cy="200058"/>
              </a:xfrm>
              <a:custGeom>
                <a:avLst/>
                <a:gdLst>
                  <a:gd name="T0" fmla="*/ 29 w 217"/>
                  <a:gd name="T1" fmla="*/ 217 h 217"/>
                  <a:gd name="T2" fmla="*/ 217 w 217"/>
                  <a:gd name="T3" fmla="*/ 28 h 217"/>
                  <a:gd name="T4" fmla="*/ 189 w 217"/>
                  <a:gd name="T5" fmla="*/ 0 h 217"/>
                  <a:gd name="T6" fmla="*/ 0 w 217"/>
                  <a:gd name="T7" fmla="*/ 188 h 217"/>
                  <a:gd name="T8" fmla="*/ 29 w 217"/>
                  <a:gd name="T9" fmla="*/ 217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7" h="217">
                    <a:moveTo>
                      <a:pt x="29" y="217"/>
                    </a:moveTo>
                    <a:lnTo>
                      <a:pt x="217" y="28"/>
                    </a:lnTo>
                    <a:lnTo>
                      <a:pt x="189" y="0"/>
                    </a:lnTo>
                    <a:lnTo>
                      <a:pt x="0" y="188"/>
                    </a:lnTo>
                    <a:lnTo>
                      <a:pt x="29" y="217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Freeform 503"/>
              <p:cNvSpPr>
                <a:spLocks/>
              </p:cNvSpPr>
              <p:nvPr/>
            </p:nvSpPr>
            <p:spPr bwMode="auto">
              <a:xfrm>
                <a:off x="-940456" y="1252481"/>
                <a:ext cx="200058" cy="200058"/>
              </a:xfrm>
              <a:custGeom>
                <a:avLst/>
                <a:gdLst>
                  <a:gd name="T0" fmla="*/ 29 w 217"/>
                  <a:gd name="T1" fmla="*/ 0 h 217"/>
                  <a:gd name="T2" fmla="*/ 217 w 217"/>
                  <a:gd name="T3" fmla="*/ 188 h 217"/>
                  <a:gd name="T4" fmla="*/ 189 w 217"/>
                  <a:gd name="T5" fmla="*/ 217 h 217"/>
                  <a:gd name="T6" fmla="*/ 0 w 217"/>
                  <a:gd name="T7" fmla="*/ 28 h 217"/>
                  <a:gd name="T8" fmla="*/ 29 w 217"/>
                  <a:gd name="T9" fmla="*/ 0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7" h="217">
                    <a:moveTo>
                      <a:pt x="29" y="0"/>
                    </a:moveTo>
                    <a:lnTo>
                      <a:pt x="217" y="188"/>
                    </a:lnTo>
                    <a:lnTo>
                      <a:pt x="189" y="217"/>
                    </a:lnTo>
                    <a:lnTo>
                      <a:pt x="0" y="28"/>
                    </a:lnTo>
                    <a:lnTo>
                      <a:pt x="29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Line 504"/>
              <p:cNvSpPr>
                <a:spLocks noChangeShapeType="1"/>
              </p:cNvSpPr>
              <p:nvPr/>
            </p:nvSpPr>
            <p:spPr bwMode="auto">
              <a:xfrm>
                <a:off x="-303062" y="2429570"/>
                <a:ext cx="0" cy="0"/>
              </a:xfrm>
              <a:prstGeom prst="line">
                <a:avLst/>
              </a:prstGeom>
              <a:grpFill/>
              <a:ln w="8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" name="Rectangle 2"/>
              <p:cNvSpPr/>
              <p:nvPr/>
            </p:nvSpPr>
            <p:spPr>
              <a:xfrm>
                <a:off x="-554298" y="2323225"/>
                <a:ext cx="265193" cy="45719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/>
              <p:cNvSpPr/>
              <p:nvPr/>
            </p:nvSpPr>
            <p:spPr>
              <a:xfrm>
                <a:off x="-554298" y="2404216"/>
                <a:ext cx="265193" cy="45719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" name="Freeform 6"/>
              <p:cNvSpPr>
                <a:spLocks/>
              </p:cNvSpPr>
              <p:nvPr/>
            </p:nvSpPr>
            <p:spPr bwMode="auto">
              <a:xfrm>
                <a:off x="-588766" y="1613661"/>
                <a:ext cx="485761" cy="384942"/>
              </a:xfrm>
              <a:custGeom>
                <a:avLst/>
                <a:gdLst>
                  <a:gd name="T0" fmla="*/ 0 w 1164"/>
                  <a:gd name="T1" fmla="*/ 522 h 923"/>
                  <a:gd name="T2" fmla="*/ 241 w 1164"/>
                  <a:gd name="T3" fmla="*/ 923 h 923"/>
                  <a:gd name="T4" fmla="*/ 1164 w 1164"/>
                  <a:gd name="T5" fmla="*/ 0 h 923"/>
                  <a:gd name="T6" fmla="*/ 301 w 1164"/>
                  <a:gd name="T7" fmla="*/ 642 h 923"/>
                  <a:gd name="T8" fmla="*/ 0 w 1164"/>
                  <a:gd name="T9" fmla="*/ 522 h 9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4" h="923">
                    <a:moveTo>
                      <a:pt x="0" y="522"/>
                    </a:moveTo>
                    <a:lnTo>
                      <a:pt x="241" y="923"/>
                    </a:lnTo>
                    <a:lnTo>
                      <a:pt x="1164" y="0"/>
                    </a:lnTo>
                    <a:lnTo>
                      <a:pt x="301" y="642"/>
                    </a:lnTo>
                    <a:lnTo>
                      <a:pt x="0" y="522"/>
                    </a:lnTo>
                    <a:close/>
                  </a:path>
                </a:pathLst>
              </a:custGeom>
              <a:solidFill>
                <a:srgbClr val="0D65AC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1" name="Group 10"/>
          <p:cNvGrpSpPr/>
          <p:nvPr/>
        </p:nvGrpSpPr>
        <p:grpSpPr>
          <a:xfrm>
            <a:off x="5719794" y="1763230"/>
            <a:ext cx="1024207" cy="1024207"/>
            <a:chOff x="5486400" y="1585913"/>
            <a:chExt cx="1299094" cy="1299094"/>
          </a:xfrm>
        </p:grpSpPr>
        <p:sp>
          <p:nvSpPr>
            <p:cNvPr id="51" name="Oval 50"/>
            <p:cNvSpPr/>
            <p:nvPr/>
          </p:nvSpPr>
          <p:spPr>
            <a:xfrm>
              <a:off x="5486400" y="1585913"/>
              <a:ext cx="1299094" cy="1299094"/>
            </a:xfrm>
            <a:prstGeom prst="ellipse">
              <a:avLst/>
            </a:prstGeom>
            <a:solidFill>
              <a:srgbClr val="2A9B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6" name="Group 45"/>
            <p:cNvGrpSpPr/>
            <p:nvPr/>
          </p:nvGrpSpPr>
          <p:grpSpPr>
            <a:xfrm>
              <a:off x="5818704" y="1948302"/>
              <a:ext cx="792827" cy="639792"/>
              <a:chOff x="-866775" y="857250"/>
              <a:chExt cx="2549525" cy="2057400"/>
            </a:xfrm>
            <a:solidFill>
              <a:schemeClr val="bg1"/>
            </a:solidFill>
          </p:grpSpPr>
          <p:sp>
            <p:nvSpPr>
              <p:cNvPr id="47" name="Freeform 13"/>
              <p:cNvSpPr>
                <a:spLocks/>
              </p:cNvSpPr>
              <p:nvPr/>
            </p:nvSpPr>
            <p:spPr bwMode="auto">
              <a:xfrm>
                <a:off x="146050" y="876300"/>
                <a:ext cx="1536700" cy="1012825"/>
              </a:xfrm>
              <a:custGeom>
                <a:avLst/>
                <a:gdLst>
                  <a:gd name="T0" fmla="*/ 870 w 968"/>
                  <a:gd name="T1" fmla="*/ 0 h 638"/>
                  <a:gd name="T2" fmla="*/ 824 w 968"/>
                  <a:gd name="T3" fmla="*/ 162 h 638"/>
                  <a:gd name="T4" fmla="*/ 968 w 968"/>
                  <a:gd name="T5" fmla="*/ 180 h 638"/>
                  <a:gd name="T6" fmla="*/ 744 w 968"/>
                  <a:gd name="T7" fmla="*/ 314 h 638"/>
                  <a:gd name="T8" fmla="*/ 622 w 968"/>
                  <a:gd name="T9" fmla="*/ 288 h 638"/>
                  <a:gd name="T10" fmla="*/ 22 w 968"/>
                  <a:gd name="T11" fmla="*/ 638 h 638"/>
                  <a:gd name="T12" fmla="*/ 0 w 968"/>
                  <a:gd name="T13" fmla="*/ 604 h 638"/>
                  <a:gd name="T14" fmla="*/ 608 w 968"/>
                  <a:gd name="T15" fmla="*/ 236 h 638"/>
                  <a:gd name="T16" fmla="*/ 628 w 968"/>
                  <a:gd name="T17" fmla="*/ 130 h 638"/>
                  <a:gd name="T18" fmla="*/ 870 w 968"/>
                  <a:gd name="T19" fmla="*/ 0 h 6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68" h="638">
                    <a:moveTo>
                      <a:pt x="870" y="0"/>
                    </a:moveTo>
                    <a:lnTo>
                      <a:pt x="824" y="162"/>
                    </a:lnTo>
                    <a:lnTo>
                      <a:pt x="968" y="180"/>
                    </a:lnTo>
                    <a:lnTo>
                      <a:pt x="744" y="314"/>
                    </a:lnTo>
                    <a:lnTo>
                      <a:pt x="622" y="288"/>
                    </a:lnTo>
                    <a:lnTo>
                      <a:pt x="22" y="638"/>
                    </a:lnTo>
                    <a:lnTo>
                      <a:pt x="0" y="604"/>
                    </a:lnTo>
                    <a:lnTo>
                      <a:pt x="608" y="236"/>
                    </a:lnTo>
                    <a:lnTo>
                      <a:pt x="628" y="130"/>
                    </a:lnTo>
                    <a:lnTo>
                      <a:pt x="87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14"/>
              <p:cNvSpPr>
                <a:spLocks/>
              </p:cNvSpPr>
              <p:nvPr/>
            </p:nvSpPr>
            <p:spPr bwMode="auto">
              <a:xfrm>
                <a:off x="-57150" y="1663700"/>
                <a:ext cx="441325" cy="441325"/>
              </a:xfrm>
              <a:custGeom>
                <a:avLst/>
                <a:gdLst>
                  <a:gd name="T0" fmla="*/ 152 w 278"/>
                  <a:gd name="T1" fmla="*/ 140 h 278"/>
                  <a:gd name="T2" fmla="*/ 262 w 278"/>
                  <a:gd name="T3" fmla="*/ 74 h 278"/>
                  <a:gd name="T4" fmla="*/ 240 w 278"/>
                  <a:gd name="T5" fmla="*/ 44 h 278"/>
                  <a:gd name="T6" fmla="*/ 210 w 278"/>
                  <a:gd name="T7" fmla="*/ 20 h 278"/>
                  <a:gd name="T8" fmla="*/ 176 w 278"/>
                  <a:gd name="T9" fmla="*/ 6 h 278"/>
                  <a:gd name="T10" fmla="*/ 138 w 278"/>
                  <a:gd name="T11" fmla="*/ 0 h 278"/>
                  <a:gd name="T12" fmla="*/ 124 w 278"/>
                  <a:gd name="T13" fmla="*/ 2 h 278"/>
                  <a:gd name="T14" fmla="*/ 98 w 278"/>
                  <a:gd name="T15" fmla="*/ 6 h 278"/>
                  <a:gd name="T16" fmla="*/ 72 w 278"/>
                  <a:gd name="T17" fmla="*/ 18 h 278"/>
                  <a:gd name="T18" fmla="*/ 50 w 278"/>
                  <a:gd name="T19" fmla="*/ 32 h 278"/>
                  <a:gd name="T20" fmla="*/ 32 w 278"/>
                  <a:gd name="T21" fmla="*/ 52 h 278"/>
                  <a:gd name="T22" fmla="*/ 16 w 278"/>
                  <a:gd name="T23" fmla="*/ 74 h 278"/>
                  <a:gd name="T24" fmla="*/ 6 w 278"/>
                  <a:gd name="T25" fmla="*/ 98 h 278"/>
                  <a:gd name="T26" fmla="*/ 0 w 278"/>
                  <a:gd name="T27" fmla="*/ 126 h 278"/>
                  <a:gd name="T28" fmla="*/ 0 w 278"/>
                  <a:gd name="T29" fmla="*/ 140 h 278"/>
                  <a:gd name="T30" fmla="*/ 2 w 278"/>
                  <a:gd name="T31" fmla="*/ 168 h 278"/>
                  <a:gd name="T32" fmla="*/ 10 w 278"/>
                  <a:gd name="T33" fmla="*/ 194 h 278"/>
                  <a:gd name="T34" fmla="*/ 24 w 278"/>
                  <a:gd name="T35" fmla="*/ 218 h 278"/>
                  <a:gd name="T36" fmla="*/ 40 w 278"/>
                  <a:gd name="T37" fmla="*/ 238 h 278"/>
                  <a:gd name="T38" fmla="*/ 62 w 278"/>
                  <a:gd name="T39" fmla="*/ 254 h 278"/>
                  <a:gd name="T40" fmla="*/ 84 w 278"/>
                  <a:gd name="T41" fmla="*/ 268 h 278"/>
                  <a:gd name="T42" fmla="*/ 110 w 278"/>
                  <a:gd name="T43" fmla="*/ 276 h 278"/>
                  <a:gd name="T44" fmla="*/ 138 w 278"/>
                  <a:gd name="T45" fmla="*/ 278 h 278"/>
                  <a:gd name="T46" fmla="*/ 152 w 278"/>
                  <a:gd name="T47" fmla="*/ 278 h 278"/>
                  <a:gd name="T48" fmla="*/ 180 w 278"/>
                  <a:gd name="T49" fmla="*/ 272 h 278"/>
                  <a:gd name="T50" fmla="*/ 206 w 278"/>
                  <a:gd name="T51" fmla="*/ 262 h 278"/>
                  <a:gd name="T52" fmla="*/ 228 w 278"/>
                  <a:gd name="T53" fmla="*/ 246 h 278"/>
                  <a:gd name="T54" fmla="*/ 246 w 278"/>
                  <a:gd name="T55" fmla="*/ 228 h 278"/>
                  <a:gd name="T56" fmla="*/ 260 w 278"/>
                  <a:gd name="T57" fmla="*/ 206 h 278"/>
                  <a:gd name="T58" fmla="*/ 272 w 278"/>
                  <a:gd name="T59" fmla="*/ 182 h 278"/>
                  <a:gd name="T60" fmla="*/ 278 w 278"/>
                  <a:gd name="T61" fmla="*/ 154 h 278"/>
                  <a:gd name="T62" fmla="*/ 278 w 278"/>
                  <a:gd name="T63" fmla="*/ 140 h 278"/>
                  <a:gd name="T64" fmla="*/ 174 w 278"/>
                  <a:gd name="T65" fmla="*/ 174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78" h="278">
                    <a:moveTo>
                      <a:pt x="174" y="174"/>
                    </a:moveTo>
                    <a:lnTo>
                      <a:pt x="152" y="140"/>
                    </a:lnTo>
                    <a:lnTo>
                      <a:pt x="262" y="74"/>
                    </a:lnTo>
                    <a:lnTo>
                      <a:pt x="262" y="74"/>
                    </a:lnTo>
                    <a:lnTo>
                      <a:pt x="252" y="58"/>
                    </a:lnTo>
                    <a:lnTo>
                      <a:pt x="240" y="44"/>
                    </a:lnTo>
                    <a:lnTo>
                      <a:pt x="226" y="32"/>
                    </a:lnTo>
                    <a:lnTo>
                      <a:pt x="210" y="20"/>
                    </a:lnTo>
                    <a:lnTo>
                      <a:pt x="194" y="12"/>
                    </a:lnTo>
                    <a:lnTo>
                      <a:pt x="176" y="6"/>
                    </a:lnTo>
                    <a:lnTo>
                      <a:pt x="158" y="2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24" y="2"/>
                    </a:lnTo>
                    <a:lnTo>
                      <a:pt x="110" y="4"/>
                    </a:lnTo>
                    <a:lnTo>
                      <a:pt x="98" y="6"/>
                    </a:lnTo>
                    <a:lnTo>
                      <a:pt x="84" y="12"/>
                    </a:lnTo>
                    <a:lnTo>
                      <a:pt x="72" y="18"/>
                    </a:lnTo>
                    <a:lnTo>
                      <a:pt x="62" y="24"/>
                    </a:lnTo>
                    <a:lnTo>
                      <a:pt x="50" y="32"/>
                    </a:lnTo>
                    <a:lnTo>
                      <a:pt x="40" y="42"/>
                    </a:lnTo>
                    <a:lnTo>
                      <a:pt x="32" y="52"/>
                    </a:lnTo>
                    <a:lnTo>
                      <a:pt x="24" y="62"/>
                    </a:lnTo>
                    <a:lnTo>
                      <a:pt x="16" y="74"/>
                    </a:lnTo>
                    <a:lnTo>
                      <a:pt x="10" y="86"/>
                    </a:lnTo>
                    <a:lnTo>
                      <a:pt x="6" y="98"/>
                    </a:lnTo>
                    <a:lnTo>
                      <a:pt x="2" y="112"/>
                    </a:lnTo>
                    <a:lnTo>
                      <a:pt x="0" y="126"/>
                    </a:lnTo>
                    <a:lnTo>
                      <a:pt x="0" y="140"/>
                    </a:lnTo>
                    <a:lnTo>
                      <a:pt x="0" y="140"/>
                    </a:lnTo>
                    <a:lnTo>
                      <a:pt x="0" y="154"/>
                    </a:lnTo>
                    <a:lnTo>
                      <a:pt x="2" y="168"/>
                    </a:lnTo>
                    <a:lnTo>
                      <a:pt x="6" y="182"/>
                    </a:lnTo>
                    <a:lnTo>
                      <a:pt x="10" y="194"/>
                    </a:lnTo>
                    <a:lnTo>
                      <a:pt x="16" y="206"/>
                    </a:lnTo>
                    <a:lnTo>
                      <a:pt x="24" y="218"/>
                    </a:lnTo>
                    <a:lnTo>
                      <a:pt x="32" y="228"/>
                    </a:lnTo>
                    <a:lnTo>
                      <a:pt x="40" y="238"/>
                    </a:lnTo>
                    <a:lnTo>
                      <a:pt x="50" y="246"/>
                    </a:lnTo>
                    <a:lnTo>
                      <a:pt x="62" y="254"/>
                    </a:lnTo>
                    <a:lnTo>
                      <a:pt x="72" y="262"/>
                    </a:lnTo>
                    <a:lnTo>
                      <a:pt x="84" y="268"/>
                    </a:lnTo>
                    <a:lnTo>
                      <a:pt x="98" y="272"/>
                    </a:lnTo>
                    <a:lnTo>
                      <a:pt x="110" y="276"/>
                    </a:lnTo>
                    <a:lnTo>
                      <a:pt x="124" y="278"/>
                    </a:lnTo>
                    <a:lnTo>
                      <a:pt x="138" y="278"/>
                    </a:lnTo>
                    <a:lnTo>
                      <a:pt x="138" y="278"/>
                    </a:lnTo>
                    <a:lnTo>
                      <a:pt x="152" y="278"/>
                    </a:lnTo>
                    <a:lnTo>
                      <a:pt x="166" y="276"/>
                    </a:lnTo>
                    <a:lnTo>
                      <a:pt x="180" y="272"/>
                    </a:lnTo>
                    <a:lnTo>
                      <a:pt x="192" y="268"/>
                    </a:lnTo>
                    <a:lnTo>
                      <a:pt x="206" y="262"/>
                    </a:lnTo>
                    <a:lnTo>
                      <a:pt x="216" y="254"/>
                    </a:lnTo>
                    <a:lnTo>
                      <a:pt x="228" y="246"/>
                    </a:lnTo>
                    <a:lnTo>
                      <a:pt x="238" y="238"/>
                    </a:lnTo>
                    <a:lnTo>
                      <a:pt x="246" y="228"/>
                    </a:lnTo>
                    <a:lnTo>
                      <a:pt x="254" y="218"/>
                    </a:lnTo>
                    <a:lnTo>
                      <a:pt x="260" y="206"/>
                    </a:lnTo>
                    <a:lnTo>
                      <a:pt x="266" y="194"/>
                    </a:lnTo>
                    <a:lnTo>
                      <a:pt x="272" y="182"/>
                    </a:lnTo>
                    <a:lnTo>
                      <a:pt x="274" y="168"/>
                    </a:lnTo>
                    <a:lnTo>
                      <a:pt x="278" y="154"/>
                    </a:lnTo>
                    <a:lnTo>
                      <a:pt x="278" y="140"/>
                    </a:lnTo>
                    <a:lnTo>
                      <a:pt x="278" y="140"/>
                    </a:lnTo>
                    <a:lnTo>
                      <a:pt x="276" y="114"/>
                    </a:lnTo>
                    <a:lnTo>
                      <a:pt x="174" y="17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15"/>
              <p:cNvSpPr>
                <a:spLocks/>
              </p:cNvSpPr>
              <p:nvPr/>
            </p:nvSpPr>
            <p:spPr bwMode="auto">
              <a:xfrm>
                <a:off x="-549275" y="1174750"/>
                <a:ext cx="1425575" cy="1422400"/>
              </a:xfrm>
              <a:custGeom>
                <a:avLst/>
                <a:gdLst>
                  <a:gd name="T0" fmla="*/ 714 w 898"/>
                  <a:gd name="T1" fmla="*/ 374 h 896"/>
                  <a:gd name="T2" fmla="*/ 724 w 898"/>
                  <a:gd name="T3" fmla="*/ 448 h 896"/>
                  <a:gd name="T4" fmla="*/ 720 w 898"/>
                  <a:gd name="T5" fmla="*/ 504 h 896"/>
                  <a:gd name="T6" fmla="*/ 692 w 898"/>
                  <a:gd name="T7" fmla="*/ 580 h 896"/>
                  <a:gd name="T8" fmla="*/ 644 w 898"/>
                  <a:gd name="T9" fmla="*/ 642 h 896"/>
                  <a:gd name="T10" fmla="*/ 580 w 898"/>
                  <a:gd name="T11" fmla="*/ 690 h 896"/>
                  <a:gd name="T12" fmla="*/ 504 w 898"/>
                  <a:gd name="T13" fmla="*/ 718 h 896"/>
                  <a:gd name="T14" fmla="*/ 448 w 898"/>
                  <a:gd name="T15" fmla="*/ 724 h 896"/>
                  <a:gd name="T16" fmla="*/ 366 w 898"/>
                  <a:gd name="T17" fmla="*/ 712 h 896"/>
                  <a:gd name="T18" fmla="*/ 294 w 898"/>
                  <a:gd name="T19" fmla="*/ 676 h 896"/>
                  <a:gd name="T20" fmla="*/ 236 w 898"/>
                  <a:gd name="T21" fmla="*/ 624 h 896"/>
                  <a:gd name="T22" fmla="*/ 194 w 898"/>
                  <a:gd name="T23" fmla="*/ 556 h 896"/>
                  <a:gd name="T24" fmla="*/ 174 w 898"/>
                  <a:gd name="T25" fmla="*/ 476 h 896"/>
                  <a:gd name="T26" fmla="*/ 174 w 898"/>
                  <a:gd name="T27" fmla="*/ 420 h 896"/>
                  <a:gd name="T28" fmla="*/ 194 w 898"/>
                  <a:gd name="T29" fmla="*/ 340 h 896"/>
                  <a:gd name="T30" fmla="*/ 236 w 898"/>
                  <a:gd name="T31" fmla="*/ 272 h 896"/>
                  <a:gd name="T32" fmla="*/ 294 w 898"/>
                  <a:gd name="T33" fmla="*/ 218 h 896"/>
                  <a:gd name="T34" fmla="*/ 366 w 898"/>
                  <a:gd name="T35" fmla="*/ 184 h 896"/>
                  <a:gd name="T36" fmla="*/ 448 w 898"/>
                  <a:gd name="T37" fmla="*/ 172 h 896"/>
                  <a:gd name="T38" fmla="*/ 486 w 898"/>
                  <a:gd name="T39" fmla="*/ 174 h 896"/>
                  <a:gd name="T40" fmla="*/ 540 w 898"/>
                  <a:gd name="T41" fmla="*/ 188 h 896"/>
                  <a:gd name="T42" fmla="*/ 618 w 898"/>
                  <a:gd name="T43" fmla="*/ 230 h 896"/>
                  <a:gd name="T44" fmla="*/ 688 w 898"/>
                  <a:gd name="T45" fmla="*/ 310 h 896"/>
                  <a:gd name="T46" fmla="*/ 820 w 898"/>
                  <a:gd name="T47" fmla="*/ 198 h 896"/>
                  <a:gd name="T48" fmla="*/ 766 w 898"/>
                  <a:gd name="T49" fmla="*/ 130 h 896"/>
                  <a:gd name="T50" fmla="*/ 700 w 898"/>
                  <a:gd name="T51" fmla="*/ 76 h 896"/>
                  <a:gd name="T52" fmla="*/ 624 w 898"/>
                  <a:gd name="T53" fmla="*/ 34 h 896"/>
                  <a:gd name="T54" fmla="*/ 540 w 898"/>
                  <a:gd name="T55" fmla="*/ 8 h 896"/>
                  <a:gd name="T56" fmla="*/ 448 w 898"/>
                  <a:gd name="T57" fmla="*/ 0 h 896"/>
                  <a:gd name="T58" fmla="*/ 358 w 898"/>
                  <a:gd name="T59" fmla="*/ 8 h 896"/>
                  <a:gd name="T60" fmla="*/ 236 w 898"/>
                  <a:gd name="T61" fmla="*/ 54 h 896"/>
                  <a:gd name="T62" fmla="*/ 132 w 898"/>
                  <a:gd name="T63" fmla="*/ 130 h 896"/>
                  <a:gd name="T64" fmla="*/ 54 w 898"/>
                  <a:gd name="T65" fmla="*/ 234 h 896"/>
                  <a:gd name="T66" fmla="*/ 10 w 898"/>
                  <a:gd name="T67" fmla="*/ 358 h 896"/>
                  <a:gd name="T68" fmla="*/ 0 w 898"/>
                  <a:gd name="T69" fmla="*/ 448 h 896"/>
                  <a:gd name="T70" fmla="*/ 20 w 898"/>
                  <a:gd name="T71" fmla="*/ 582 h 896"/>
                  <a:gd name="T72" fmla="*/ 78 w 898"/>
                  <a:gd name="T73" fmla="*/ 698 h 896"/>
                  <a:gd name="T74" fmla="*/ 164 w 898"/>
                  <a:gd name="T75" fmla="*/ 794 h 896"/>
                  <a:gd name="T76" fmla="*/ 274 w 898"/>
                  <a:gd name="T77" fmla="*/ 860 h 896"/>
                  <a:gd name="T78" fmla="*/ 402 w 898"/>
                  <a:gd name="T79" fmla="*/ 894 h 896"/>
                  <a:gd name="T80" fmla="*/ 494 w 898"/>
                  <a:gd name="T81" fmla="*/ 894 h 896"/>
                  <a:gd name="T82" fmla="*/ 624 w 898"/>
                  <a:gd name="T83" fmla="*/ 860 h 896"/>
                  <a:gd name="T84" fmla="*/ 734 w 898"/>
                  <a:gd name="T85" fmla="*/ 794 h 896"/>
                  <a:gd name="T86" fmla="*/ 820 w 898"/>
                  <a:gd name="T87" fmla="*/ 698 h 896"/>
                  <a:gd name="T88" fmla="*/ 876 w 898"/>
                  <a:gd name="T89" fmla="*/ 582 h 896"/>
                  <a:gd name="T90" fmla="*/ 898 w 898"/>
                  <a:gd name="T91" fmla="*/ 448 h 896"/>
                  <a:gd name="T92" fmla="*/ 894 w 898"/>
                  <a:gd name="T93" fmla="*/ 400 h 896"/>
                  <a:gd name="T94" fmla="*/ 882 w 898"/>
                  <a:gd name="T95" fmla="*/ 330 h 896"/>
                  <a:gd name="T96" fmla="*/ 858 w 898"/>
                  <a:gd name="T97" fmla="*/ 264 h 8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98" h="896">
                    <a:moveTo>
                      <a:pt x="708" y="352"/>
                    </a:moveTo>
                    <a:lnTo>
                      <a:pt x="708" y="352"/>
                    </a:lnTo>
                    <a:lnTo>
                      <a:pt x="714" y="374"/>
                    </a:lnTo>
                    <a:lnTo>
                      <a:pt x="720" y="398"/>
                    </a:lnTo>
                    <a:lnTo>
                      <a:pt x="724" y="422"/>
                    </a:lnTo>
                    <a:lnTo>
                      <a:pt x="724" y="448"/>
                    </a:lnTo>
                    <a:lnTo>
                      <a:pt x="724" y="448"/>
                    </a:lnTo>
                    <a:lnTo>
                      <a:pt x="724" y="476"/>
                    </a:lnTo>
                    <a:lnTo>
                      <a:pt x="720" y="504"/>
                    </a:lnTo>
                    <a:lnTo>
                      <a:pt x="712" y="530"/>
                    </a:lnTo>
                    <a:lnTo>
                      <a:pt x="704" y="556"/>
                    </a:lnTo>
                    <a:lnTo>
                      <a:pt x="692" y="580"/>
                    </a:lnTo>
                    <a:lnTo>
                      <a:pt x="678" y="602"/>
                    </a:lnTo>
                    <a:lnTo>
                      <a:pt x="662" y="624"/>
                    </a:lnTo>
                    <a:lnTo>
                      <a:pt x="644" y="642"/>
                    </a:lnTo>
                    <a:lnTo>
                      <a:pt x="624" y="660"/>
                    </a:lnTo>
                    <a:lnTo>
                      <a:pt x="604" y="676"/>
                    </a:lnTo>
                    <a:lnTo>
                      <a:pt x="580" y="690"/>
                    </a:lnTo>
                    <a:lnTo>
                      <a:pt x="556" y="702"/>
                    </a:lnTo>
                    <a:lnTo>
                      <a:pt x="530" y="712"/>
                    </a:lnTo>
                    <a:lnTo>
                      <a:pt x="504" y="718"/>
                    </a:lnTo>
                    <a:lnTo>
                      <a:pt x="476" y="722"/>
                    </a:lnTo>
                    <a:lnTo>
                      <a:pt x="448" y="724"/>
                    </a:lnTo>
                    <a:lnTo>
                      <a:pt x="448" y="724"/>
                    </a:lnTo>
                    <a:lnTo>
                      <a:pt x="420" y="722"/>
                    </a:lnTo>
                    <a:lnTo>
                      <a:pt x="394" y="718"/>
                    </a:lnTo>
                    <a:lnTo>
                      <a:pt x="366" y="712"/>
                    </a:lnTo>
                    <a:lnTo>
                      <a:pt x="342" y="702"/>
                    </a:lnTo>
                    <a:lnTo>
                      <a:pt x="318" y="690"/>
                    </a:lnTo>
                    <a:lnTo>
                      <a:pt x="294" y="676"/>
                    </a:lnTo>
                    <a:lnTo>
                      <a:pt x="274" y="660"/>
                    </a:lnTo>
                    <a:lnTo>
                      <a:pt x="254" y="642"/>
                    </a:lnTo>
                    <a:lnTo>
                      <a:pt x="236" y="624"/>
                    </a:lnTo>
                    <a:lnTo>
                      <a:pt x="220" y="602"/>
                    </a:lnTo>
                    <a:lnTo>
                      <a:pt x="206" y="580"/>
                    </a:lnTo>
                    <a:lnTo>
                      <a:pt x="194" y="556"/>
                    </a:lnTo>
                    <a:lnTo>
                      <a:pt x="186" y="530"/>
                    </a:lnTo>
                    <a:lnTo>
                      <a:pt x="178" y="504"/>
                    </a:lnTo>
                    <a:lnTo>
                      <a:pt x="174" y="476"/>
                    </a:lnTo>
                    <a:lnTo>
                      <a:pt x="172" y="448"/>
                    </a:lnTo>
                    <a:lnTo>
                      <a:pt x="172" y="448"/>
                    </a:lnTo>
                    <a:lnTo>
                      <a:pt x="174" y="420"/>
                    </a:lnTo>
                    <a:lnTo>
                      <a:pt x="178" y="392"/>
                    </a:lnTo>
                    <a:lnTo>
                      <a:pt x="186" y="366"/>
                    </a:lnTo>
                    <a:lnTo>
                      <a:pt x="194" y="340"/>
                    </a:lnTo>
                    <a:lnTo>
                      <a:pt x="206" y="316"/>
                    </a:lnTo>
                    <a:lnTo>
                      <a:pt x="220" y="294"/>
                    </a:lnTo>
                    <a:lnTo>
                      <a:pt x="236" y="272"/>
                    </a:lnTo>
                    <a:lnTo>
                      <a:pt x="254" y="252"/>
                    </a:lnTo>
                    <a:lnTo>
                      <a:pt x="274" y="234"/>
                    </a:lnTo>
                    <a:lnTo>
                      <a:pt x="294" y="218"/>
                    </a:lnTo>
                    <a:lnTo>
                      <a:pt x="318" y="206"/>
                    </a:lnTo>
                    <a:lnTo>
                      <a:pt x="342" y="194"/>
                    </a:lnTo>
                    <a:lnTo>
                      <a:pt x="366" y="184"/>
                    </a:lnTo>
                    <a:lnTo>
                      <a:pt x="394" y="178"/>
                    </a:lnTo>
                    <a:lnTo>
                      <a:pt x="420" y="174"/>
                    </a:lnTo>
                    <a:lnTo>
                      <a:pt x="448" y="172"/>
                    </a:lnTo>
                    <a:lnTo>
                      <a:pt x="448" y="172"/>
                    </a:lnTo>
                    <a:lnTo>
                      <a:pt x="468" y="172"/>
                    </a:lnTo>
                    <a:lnTo>
                      <a:pt x="486" y="174"/>
                    </a:lnTo>
                    <a:lnTo>
                      <a:pt x="504" y="178"/>
                    </a:lnTo>
                    <a:lnTo>
                      <a:pt x="522" y="182"/>
                    </a:lnTo>
                    <a:lnTo>
                      <a:pt x="540" y="188"/>
                    </a:lnTo>
                    <a:lnTo>
                      <a:pt x="558" y="194"/>
                    </a:lnTo>
                    <a:lnTo>
                      <a:pt x="590" y="210"/>
                    </a:lnTo>
                    <a:lnTo>
                      <a:pt x="618" y="230"/>
                    </a:lnTo>
                    <a:lnTo>
                      <a:pt x="646" y="254"/>
                    </a:lnTo>
                    <a:lnTo>
                      <a:pt x="668" y="280"/>
                    </a:lnTo>
                    <a:lnTo>
                      <a:pt x="688" y="310"/>
                    </a:lnTo>
                    <a:lnTo>
                      <a:pt x="836" y="222"/>
                    </a:lnTo>
                    <a:lnTo>
                      <a:pt x="836" y="222"/>
                    </a:lnTo>
                    <a:lnTo>
                      <a:pt x="820" y="198"/>
                    </a:lnTo>
                    <a:lnTo>
                      <a:pt x="804" y="174"/>
                    </a:lnTo>
                    <a:lnTo>
                      <a:pt x="786" y="152"/>
                    </a:lnTo>
                    <a:lnTo>
                      <a:pt x="766" y="130"/>
                    </a:lnTo>
                    <a:lnTo>
                      <a:pt x="744" y="112"/>
                    </a:lnTo>
                    <a:lnTo>
                      <a:pt x="722" y="92"/>
                    </a:lnTo>
                    <a:lnTo>
                      <a:pt x="700" y="76"/>
                    </a:lnTo>
                    <a:lnTo>
                      <a:pt x="674" y="60"/>
                    </a:lnTo>
                    <a:lnTo>
                      <a:pt x="650" y="46"/>
                    </a:lnTo>
                    <a:lnTo>
                      <a:pt x="624" y="34"/>
                    </a:lnTo>
                    <a:lnTo>
                      <a:pt x="596" y="24"/>
                    </a:lnTo>
                    <a:lnTo>
                      <a:pt x="568" y="16"/>
                    </a:lnTo>
                    <a:lnTo>
                      <a:pt x="540" y="8"/>
                    </a:lnTo>
                    <a:lnTo>
                      <a:pt x="510" y="4"/>
                    </a:lnTo>
                    <a:lnTo>
                      <a:pt x="480" y="0"/>
                    </a:lnTo>
                    <a:lnTo>
                      <a:pt x="448" y="0"/>
                    </a:lnTo>
                    <a:lnTo>
                      <a:pt x="448" y="0"/>
                    </a:lnTo>
                    <a:lnTo>
                      <a:pt x="402" y="2"/>
                    </a:lnTo>
                    <a:lnTo>
                      <a:pt x="358" y="8"/>
                    </a:lnTo>
                    <a:lnTo>
                      <a:pt x="316" y="20"/>
                    </a:lnTo>
                    <a:lnTo>
                      <a:pt x="274" y="34"/>
                    </a:lnTo>
                    <a:lnTo>
                      <a:pt x="236" y="54"/>
                    </a:lnTo>
                    <a:lnTo>
                      <a:pt x="198" y="76"/>
                    </a:lnTo>
                    <a:lnTo>
                      <a:pt x="164" y="102"/>
                    </a:lnTo>
                    <a:lnTo>
                      <a:pt x="132" y="130"/>
                    </a:lnTo>
                    <a:lnTo>
                      <a:pt x="102" y="162"/>
                    </a:lnTo>
                    <a:lnTo>
                      <a:pt x="78" y="198"/>
                    </a:lnTo>
                    <a:lnTo>
                      <a:pt x="54" y="234"/>
                    </a:lnTo>
                    <a:lnTo>
                      <a:pt x="36" y="274"/>
                    </a:lnTo>
                    <a:lnTo>
                      <a:pt x="20" y="314"/>
                    </a:lnTo>
                    <a:lnTo>
                      <a:pt x="10" y="358"/>
                    </a:lnTo>
                    <a:lnTo>
                      <a:pt x="2" y="402"/>
                    </a:lnTo>
                    <a:lnTo>
                      <a:pt x="0" y="448"/>
                    </a:lnTo>
                    <a:lnTo>
                      <a:pt x="0" y="448"/>
                    </a:lnTo>
                    <a:lnTo>
                      <a:pt x="2" y="494"/>
                    </a:lnTo>
                    <a:lnTo>
                      <a:pt x="10" y="538"/>
                    </a:lnTo>
                    <a:lnTo>
                      <a:pt x="20" y="582"/>
                    </a:lnTo>
                    <a:lnTo>
                      <a:pt x="36" y="622"/>
                    </a:lnTo>
                    <a:lnTo>
                      <a:pt x="54" y="662"/>
                    </a:lnTo>
                    <a:lnTo>
                      <a:pt x="78" y="698"/>
                    </a:lnTo>
                    <a:lnTo>
                      <a:pt x="102" y="732"/>
                    </a:lnTo>
                    <a:lnTo>
                      <a:pt x="132" y="764"/>
                    </a:lnTo>
                    <a:lnTo>
                      <a:pt x="164" y="794"/>
                    </a:lnTo>
                    <a:lnTo>
                      <a:pt x="198" y="820"/>
                    </a:lnTo>
                    <a:lnTo>
                      <a:pt x="236" y="842"/>
                    </a:lnTo>
                    <a:lnTo>
                      <a:pt x="274" y="860"/>
                    </a:lnTo>
                    <a:lnTo>
                      <a:pt x="316" y="876"/>
                    </a:lnTo>
                    <a:lnTo>
                      <a:pt x="358" y="886"/>
                    </a:lnTo>
                    <a:lnTo>
                      <a:pt x="402" y="894"/>
                    </a:lnTo>
                    <a:lnTo>
                      <a:pt x="448" y="896"/>
                    </a:lnTo>
                    <a:lnTo>
                      <a:pt x="448" y="896"/>
                    </a:lnTo>
                    <a:lnTo>
                      <a:pt x="494" y="894"/>
                    </a:lnTo>
                    <a:lnTo>
                      <a:pt x="540" y="886"/>
                    </a:lnTo>
                    <a:lnTo>
                      <a:pt x="582" y="876"/>
                    </a:lnTo>
                    <a:lnTo>
                      <a:pt x="624" y="860"/>
                    </a:lnTo>
                    <a:lnTo>
                      <a:pt x="662" y="842"/>
                    </a:lnTo>
                    <a:lnTo>
                      <a:pt x="700" y="820"/>
                    </a:lnTo>
                    <a:lnTo>
                      <a:pt x="734" y="794"/>
                    </a:lnTo>
                    <a:lnTo>
                      <a:pt x="766" y="764"/>
                    </a:lnTo>
                    <a:lnTo>
                      <a:pt x="794" y="732"/>
                    </a:lnTo>
                    <a:lnTo>
                      <a:pt x="820" y="698"/>
                    </a:lnTo>
                    <a:lnTo>
                      <a:pt x="842" y="662"/>
                    </a:lnTo>
                    <a:lnTo>
                      <a:pt x="862" y="622"/>
                    </a:lnTo>
                    <a:lnTo>
                      <a:pt x="876" y="582"/>
                    </a:lnTo>
                    <a:lnTo>
                      <a:pt x="888" y="538"/>
                    </a:lnTo>
                    <a:lnTo>
                      <a:pt x="894" y="494"/>
                    </a:lnTo>
                    <a:lnTo>
                      <a:pt x="898" y="448"/>
                    </a:lnTo>
                    <a:lnTo>
                      <a:pt x="898" y="448"/>
                    </a:lnTo>
                    <a:lnTo>
                      <a:pt x="896" y="424"/>
                    </a:lnTo>
                    <a:lnTo>
                      <a:pt x="894" y="400"/>
                    </a:lnTo>
                    <a:lnTo>
                      <a:pt x="892" y="376"/>
                    </a:lnTo>
                    <a:lnTo>
                      <a:pt x="886" y="352"/>
                    </a:lnTo>
                    <a:lnTo>
                      <a:pt x="882" y="330"/>
                    </a:lnTo>
                    <a:lnTo>
                      <a:pt x="874" y="308"/>
                    </a:lnTo>
                    <a:lnTo>
                      <a:pt x="866" y="286"/>
                    </a:lnTo>
                    <a:lnTo>
                      <a:pt x="858" y="264"/>
                    </a:lnTo>
                    <a:lnTo>
                      <a:pt x="708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16"/>
              <p:cNvSpPr>
                <a:spLocks/>
              </p:cNvSpPr>
              <p:nvPr/>
            </p:nvSpPr>
            <p:spPr bwMode="auto">
              <a:xfrm>
                <a:off x="-866775" y="857250"/>
                <a:ext cx="2057400" cy="2057400"/>
              </a:xfrm>
              <a:custGeom>
                <a:avLst/>
                <a:gdLst>
                  <a:gd name="T0" fmla="*/ 1226 w 1296"/>
                  <a:gd name="T1" fmla="*/ 442 h 1296"/>
                  <a:gd name="T2" fmla="*/ 1258 w 1296"/>
                  <a:gd name="T3" fmla="*/ 576 h 1296"/>
                  <a:gd name="T4" fmla="*/ 1260 w 1296"/>
                  <a:gd name="T5" fmla="*/ 680 h 1296"/>
                  <a:gd name="T6" fmla="*/ 1242 w 1296"/>
                  <a:gd name="T7" fmla="*/ 800 h 1296"/>
                  <a:gd name="T8" fmla="*/ 1202 w 1296"/>
                  <a:gd name="T9" fmla="*/ 914 h 1296"/>
                  <a:gd name="T10" fmla="*/ 1140 w 1296"/>
                  <a:gd name="T11" fmla="*/ 1014 h 1296"/>
                  <a:gd name="T12" fmla="*/ 1060 w 1296"/>
                  <a:gd name="T13" fmla="*/ 1102 h 1296"/>
                  <a:gd name="T14" fmla="*/ 966 w 1296"/>
                  <a:gd name="T15" fmla="*/ 1172 h 1296"/>
                  <a:gd name="T16" fmla="*/ 860 w 1296"/>
                  <a:gd name="T17" fmla="*/ 1224 h 1296"/>
                  <a:gd name="T18" fmla="*/ 742 w 1296"/>
                  <a:gd name="T19" fmla="*/ 1254 h 1296"/>
                  <a:gd name="T20" fmla="*/ 648 w 1296"/>
                  <a:gd name="T21" fmla="*/ 1260 h 1296"/>
                  <a:gd name="T22" fmla="*/ 526 w 1296"/>
                  <a:gd name="T23" fmla="*/ 1248 h 1296"/>
                  <a:gd name="T24" fmla="*/ 410 w 1296"/>
                  <a:gd name="T25" fmla="*/ 1212 h 1296"/>
                  <a:gd name="T26" fmla="*/ 306 w 1296"/>
                  <a:gd name="T27" fmla="*/ 1156 h 1296"/>
                  <a:gd name="T28" fmla="*/ 216 w 1296"/>
                  <a:gd name="T29" fmla="*/ 1082 h 1296"/>
                  <a:gd name="T30" fmla="*/ 140 w 1296"/>
                  <a:gd name="T31" fmla="*/ 990 h 1296"/>
                  <a:gd name="T32" fmla="*/ 84 w 1296"/>
                  <a:gd name="T33" fmla="*/ 886 h 1296"/>
                  <a:gd name="T34" fmla="*/ 48 w 1296"/>
                  <a:gd name="T35" fmla="*/ 772 h 1296"/>
                  <a:gd name="T36" fmla="*/ 36 w 1296"/>
                  <a:gd name="T37" fmla="*/ 648 h 1296"/>
                  <a:gd name="T38" fmla="*/ 44 w 1296"/>
                  <a:gd name="T39" fmla="*/ 554 h 1296"/>
                  <a:gd name="T40" fmla="*/ 74 w 1296"/>
                  <a:gd name="T41" fmla="*/ 438 h 1296"/>
                  <a:gd name="T42" fmla="*/ 124 w 1296"/>
                  <a:gd name="T43" fmla="*/ 330 h 1296"/>
                  <a:gd name="T44" fmla="*/ 196 w 1296"/>
                  <a:gd name="T45" fmla="*/ 236 h 1296"/>
                  <a:gd name="T46" fmla="*/ 282 w 1296"/>
                  <a:gd name="T47" fmla="*/ 156 h 1296"/>
                  <a:gd name="T48" fmla="*/ 384 w 1296"/>
                  <a:gd name="T49" fmla="*/ 96 h 1296"/>
                  <a:gd name="T50" fmla="*/ 496 w 1296"/>
                  <a:gd name="T51" fmla="*/ 54 h 1296"/>
                  <a:gd name="T52" fmla="*/ 618 w 1296"/>
                  <a:gd name="T53" fmla="*/ 36 h 1296"/>
                  <a:gd name="T54" fmla="*/ 732 w 1296"/>
                  <a:gd name="T55" fmla="*/ 40 h 1296"/>
                  <a:gd name="T56" fmla="*/ 886 w 1296"/>
                  <a:gd name="T57" fmla="*/ 82 h 1296"/>
                  <a:gd name="T58" fmla="*/ 1022 w 1296"/>
                  <a:gd name="T59" fmla="*/ 162 h 1296"/>
                  <a:gd name="T60" fmla="*/ 1132 w 1296"/>
                  <a:gd name="T61" fmla="*/ 272 h 1296"/>
                  <a:gd name="T62" fmla="*/ 1206 w 1296"/>
                  <a:gd name="T63" fmla="*/ 318 h 1296"/>
                  <a:gd name="T64" fmla="*/ 1106 w 1296"/>
                  <a:gd name="T65" fmla="*/ 188 h 1296"/>
                  <a:gd name="T66" fmla="*/ 974 w 1296"/>
                  <a:gd name="T67" fmla="*/ 88 h 1296"/>
                  <a:gd name="T68" fmla="*/ 820 w 1296"/>
                  <a:gd name="T69" fmla="*/ 22 h 1296"/>
                  <a:gd name="T70" fmla="*/ 648 w 1296"/>
                  <a:gd name="T71" fmla="*/ 0 h 1296"/>
                  <a:gd name="T72" fmla="*/ 550 w 1296"/>
                  <a:gd name="T73" fmla="*/ 8 h 1296"/>
                  <a:gd name="T74" fmla="*/ 426 w 1296"/>
                  <a:gd name="T75" fmla="*/ 40 h 1296"/>
                  <a:gd name="T76" fmla="*/ 312 w 1296"/>
                  <a:gd name="T77" fmla="*/ 94 h 1296"/>
                  <a:gd name="T78" fmla="*/ 214 w 1296"/>
                  <a:gd name="T79" fmla="*/ 168 h 1296"/>
                  <a:gd name="T80" fmla="*/ 130 w 1296"/>
                  <a:gd name="T81" fmla="*/ 260 h 1296"/>
                  <a:gd name="T82" fmla="*/ 64 w 1296"/>
                  <a:gd name="T83" fmla="*/ 366 h 1296"/>
                  <a:gd name="T84" fmla="*/ 22 w 1296"/>
                  <a:gd name="T85" fmla="*/ 486 h 1296"/>
                  <a:gd name="T86" fmla="*/ 2 w 1296"/>
                  <a:gd name="T87" fmla="*/ 614 h 1296"/>
                  <a:gd name="T88" fmla="*/ 4 w 1296"/>
                  <a:gd name="T89" fmla="*/ 714 h 1296"/>
                  <a:gd name="T90" fmla="*/ 30 w 1296"/>
                  <a:gd name="T91" fmla="*/ 840 h 1296"/>
                  <a:gd name="T92" fmla="*/ 78 w 1296"/>
                  <a:gd name="T93" fmla="*/ 956 h 1296"/>
                  <a:gd name="T94" fmla="*/ 148 w 1296"/>
                  <a:gd name="T95" fmla="*/ 1060 h 1296"/>
                  <a:gd name="T96" fmla="*/ 236 w 1296"/>
                  <a:gd name="T97" fmla="*/ 1148 h 1296"/>
                  <a:gd name="T98" fmla="*/ 340 w 1296"/>
                  <a:gd name="T99" fmla="*/ 1218 h 1296"/>
                  <a:gd name="T100" fmla="*/ 456 w 1296"/>
                  <a:gd name="T101" fmla="*/ 1266 h 1296"/>
                  <a:gd name="T102" fmla="*/ 582 w 1296"/>
                  <a:gd name="T103" fmla="*/ 1292 h 1296"/>
                  <a:gd name="T104" fmla="*/ 682 w 1296"/>
                  <a:gd name="T105" fmla="*/ 1294 h 1296"/>
                  <a:gd name="T106" fmla="*/ 810 w 1296"/>
                  <a:gd name="T107" fmla="*/ 1276 h 1296"/>
                  <a:gd name="T108" fmla="*/ 930 w 1296"/>
                  <a:gd name="T109" fmla="*/ 1232 h 1296"/>
                  <a:gd name="T110" fmla="*/ 1036 w 1296"/>
                  <a:gd name="T111" fmla="*/ 1168 h 1296"/>
                  <a:gd name="T112" fmla="*/ 1128 w 1296"/>
                  <a:gd name="T113" fmla="*/ 1084 h 1296"/>
                  <a:gd name="T114" fmla="*/ 1202 w 1296"/>
                  <a:gd name="T115" fmla="*/ 984 h 1296"/>
                  <a:gd name="T116" fmla="*/ 1258 w 1296"/>
                  <a:gd name="T117" fmla="*/ 870 h 1296"/>
                  <a:gd name="T118" fmla="*/ 1290 w 1296"/>
                  <a:gd name="T119" fmla="*/ 746 h 1296"/>
                  <a:gd name="T120" fmla="*/ 1296 w 1296"/>
                  <a:gd name="T121" fmla="*/ 648 h 1296"/>
                  <a:gd name="T122" fmla="*/ 1280 w 1296"/>
                  <a:gd name="T123" fmla="*/ 500 h 1296"/>
                  <a:gd name="T124" fmla="*/ 1230 w 1296"/>
                  <a:gd name="T125" fmla="*/ 362 h 1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96" h="1296">
                    <a:moveTo>
                      <a:pt x="1200" y="380"/>
                    </a:moveTo>
                    <a:lnTo>
                      <a:pt x="1200" y="380"/>
                    </a:lnTo>
                    <a:lnTo>
                      <a:pt x="1214" y="412"/>
                    </a:lnTo>
                    <a:lnTo>
                      <a:pt x="1226" y="442"/>
                    </a:lnTo>
                    <a:lnTo>
                      <a:pt x="1236" y="476"/>
                    </a:lnTo>
                    <a:lnTo>
                      <a:pt x="1246" y="508"/>
                    </a:lnTo>
                    <a:lnTo>
                      <a:pt x="1252" y="542"/>
                    </a:lnTo>
                    <a:lnTo>
                      <a:pt x="1258" y="576"/>
                    </a:lnTo>
                    <a:lnTo>
                      <a:pt x="1260" y="612"/>
                    </a:lnTo>
                    <a:lnTo>
                      <a:pt x="1262" y="648"/>
                    </a:lnTo>
                    <a:lnTo>
                      <a:pt x="1262" y="648"/>
                    </a:lnTo>
                    <a:lnTo>
                      <a:pt x="1260" y="680"/>
                    </a:lnTo>
                    <a:lnTo>
                      <a:pt x="1258" y="710"/>
                    </a:lnTo>
                    <a:lnTo>
                      <a:pt x="1254" y="742"/>
                    </a:lnTo>
                    <a:lnTo>
                      <a:pt x="1250" y="772"/>
                    </a:lnTo>
                    <a:lnTo>
                      <a:pt x="1242" y="800"/>
                    </a:lnTo>
                    <a:lnTo>
                      <a:pt x="1234" y="830"/>
                    </a:lnTo>
                    <a:lnTo>
                      <a:pt x="1224" y="858"/>
                    </a:lnTo>
                    <a:lnTo>
                      <a:pt x="1214" y="886"/>
                    </a:lnTo>
                    <a:lnTo>
                      <a:pt x="1202" y="914"/>
                    </a:lnTo>
                    <a:lnTo>
                      <a:pt x="1188" y="940"/>
                    </a:lnTo>
                    <a:lnTo>
                      <a:pt x="1172" y="966"/>
                    </a:lnTo>
                    <a:lnTo>
                      <a:pt x="1156" y="990"/>
                    </a:lnTo>
                    <a:lnTo>
                      <a:pt x="1140" y="1014"/>
                    </a:lnTo>
                    <a:lnTo>
                      <a:pt x="1122" y="1038"/>
                    </a:lnTo>
                    <a:lnTo>
                      <a:pt x="1102" y="1060"/>
                    </a:lnTo>
                    <a:lnTo>
                      <a:pt x="1082" y="1082"/>
                    </a:lnTo>
                    <a:lnTo>
                      <a:pt x="1060" y="1102"/>
                    </a:lnTo>
                    <a:lnTo>
                      <a:pt x="1038" y="1120"/>
                    </a:lnTo>
                    <a:lnTo>
                      <a:pt x="1016" y="1138"/>
                    </a:lnTo>
                    <a:lnTo>
                      <a:pt x="992" y="1156"/>
                    </a:lnTo>
                    <a:lnTo>
                      <a:pt x="966" y="1172"/>
                    </a:lnTo>
                    <a:lnTo>
                      <a:pt x="940" y="1186"/>
                    </a:lnTo>
                    <a:lnTo>
                      <a:pt x="914" y="1200"/>
                    </a:lnTo>
                    <a:lnTo>
                      <a:pt x="888" y="1212"/>
                    </a:lnTo>
                    <a:lnTo>
                      <a:pt x="860" y="1224"/>
                    </a:lnTo>
                    <a:lnTo>
                      <a:pt x="830" y="1232"/>
                    </a:lnTo>
                    <a:lnTo>
                      <a:pt x="802" y="1242"/>
                    </a:lnTo>
                    <a:lnTo>
                      <a:pt x="772" y="1248"/>
                    </a:lnTo>
                    <a:lnTo>
                      <a:pt x="742" y="1254"/>
                    </a:lnTo>
                    <a:lnTo>
                      <a:pt x="712" y="1258"/>
                    </a:lnTo>
                    <a:lnTo>
                      <a:pt x="680" y="1260"/>
                    </a:lnTo>
                    <a:lnTo>
                      <a:pt x="648" y="1260"/>
                    </a:lnTo>
                    <a:lnTo>
                      <a:pt x="648" y="1260"/>
                    </a:lnTo>
                    <a:lnTo>
                      <a:pt x="618" y="1260"/>
                    </a:lnTo>
                    <a:lnTo>
                      <a:pt x="586" y="1258"/>
                    </a:lnTo>
                    <a:lnTo>
                      <a:pt x="556" y="1254"/>
                    </a:lnTo>
                    <a:lnTo>
                      <a:pt x="526" y="1248"/>
                    </a:lnTo>
                    <a:lnTo>
                      <a:pt x="496" y="1242"/>
                    </a:lnTo>
                    <a:lnTo>
                      <a:pt x="466" y="1232"/>
                    </a:lnTo>
                    <a:lnTo>
                      <a:pt x="438" y="1224"/>
                    </a:lnTo>
                    <a:lnTo>
                      <a:pt x="410" y="1212"/>
                    </a:lnTo>
                    <a:lnTo>
                      <a:pt x="384" y="1200"/>
                    </a:lnTo>
                    <a:lnTo>
                      <a:pt x="356" y="1186"/>
                    </a:lnTo>
                    <a:lnTo>
                      <a:pt x="332" y="1172"/>
                    </a:lnTo>
                    <a:lnTo>
                      <a:pt x="306" y="1156"/>
                    </a:lnTo>
                    <a:lnTo>
                      <a:pt x="282" y="1138"/>
                    </a:lnTo>
                    <a:lnTo>
                      <a:pt x="258" y="1120"/>
                    </a:lnTo>
                    <a:lnTo>
                      <a:pt x="236" y="1102"/>
                    </a:lnTo>
                    <a:lnTo>
                      <a:pt x="216" y="1082"/>
                    </a:lnTo>
                    <a:lnTo>
                      <a:pt x="196" y="1060"/>
                    </a:lnTo>
                    <a:lnTo>
                      <a:pt x="176" y="1038"/>
                    </a:lnTo>
                    <a:lnTo>
                      <a:pt x="158" y="1014"/>
                    </a:lnTo>
                    <a:lnTo>
                      <a:pt x="140" y="990"/>
                    </a:lnTo>
                    <a:lnTo>
                      <a:pt x="124" y="966"/>
                    </a:lnTo>
                    <a:lnTo>
                      <a:pt x="110" y="940"/>
                    </a:lnTo>
                    <a:lnTo>
                      <a:pt x="96" y="914"/>
                    </a:lnTo>
                    <a:lnTo>
                      <a:pt x="84" y="886"/>
                    </a:lnTo>
                    <a:lnTo>
                      <a:pt x="74" y="858"/>
                    </a:lnTo>
                    <a:lnTo>
                      <a:pt x="64" y="830"/>
                    </a:lnTo>
                    <a:lnTo>
                      <a:pt x="56" y="800"/>
                    </a:lnTo>
                    <a:lnTo>
                      <a:pt x="48" y="772"/>
                    </a:lnTo>
                    <a:lnTo>
                      <a:pt x="44" y="742"/>
                    </a:lnTo>
                    <a:lnTo>
                      <a:pt x="40" y="710"/>
                    </a:lnTo>
                    <a:lnTo>
                      <a:pt x="36" y="680"/>
                    </a:lnTo>
                    <a:lnTo>
                      <a:pt x="36" y="648"/>
                    </a:lnTo>
                    <a:lnTo>
                      <a:pt x="36" y="648"/>
                    </a:lnTo>
                    <a:lnTo>
                      <a:pt x="36" y="616"/>
                    </a:lnTo>
                    <a:lnTo>
                      <a:pt x="40" y="586"/>
                    </a:lnTo>
                    <a:lnTo>
                      <a:pt x="44" y="554"/>
                    </a:lnTo>
                    <a:lnTo>
                      <a:pt x="48" y="524"/>
                    </a:lnTo>
                    <a:lnTo>
                      <a:pt x="56" y="494"/>
                    </a:lnTo>
                    <a:lnTo>
                      <a:pt x="64" y="466"/>
                    </a:lnTo>
                    <a:lnTo>
                      <a:pt x="74" y="438"/>
                    </a:lnTo>
                    <a:lnTo>
                      <a:pt x="84" y="410"/>
                    </a:lnTo>
                    <a:lnTo>
                      <a:pt x="96" y="382"/>
                    </a:lnTo>
                    <a:lnTo>
                      <a:pt x="110" y="356"/>
                    </a:lnTo>
                    <a:lnTo>
                      <a:pt x="124" y="330"/>
                    </a:lnTo>
                    <a:lnTo>
                      <a:pt x="140" y="306"/>
                    </a:lnTo>
                    <a:lnTo>
                      <a:pt x="158" y="282"/>
                    </a:lnTo>
                    <a:lnTo>
                      <a:pt x="176" y="258"/>
                    </a:lnTo>
                    <a:lnTo>
                      <a:pt x="196" y="236"/>
                    </a:lnTo>
                    <a:lnTo>
                      <a:pt x="216" y="214"/>
                    </a:lnTo>
                    <a:lnTo>
                      <a:pt x="236" y="194"/>
                    </a:lnTo>
                    <a:lnTo>
                      <a:pt x="258" y="174"/>
                    </a:lnTo>
                    <a:lnTo>
                      <a:pt x="282" y="156"/>
                    </a:lnTo>
                    <a:lnTo>
                      <a:pt x="306" y="140"/>
                    </a:lnTo>
                    <a:lnTo>
                      <a:pt x="332" y="124"/>
                    </a:lnTo>
                    <a:lnTo>
                      <a:pt x="356" y="108"/>
                    </a:lnTo>
                    <a:lnTo>
                      <a:pt x="384" y="96"/>
                    </a:lnTo>
                    <a:lnTo>
                      <a:pt x="410" y="84"/>
                    </a:lnTo>
                    <a:lnTo>
                      <a:pt x="438" y="72"/>
                    </a:lnTo>
                    <a:lnTo>
                      <a:pt x="466" y="62"/>
                    </a:lnTo>
                    <a:lnTo>
                      <a:pt x="496" y="54"/>
                    </a:lnTo>
                    <a:lnTo>
                      <a:pt x="526" y="48"/>
                    </a:lnTo>
                    <a:lnTo>
                      <a:pt x="556" y="42"/>
                    </a:lnTo>
                    <a:lnTo>
                      <a:pt x="586" y="38"/>
                    </a:lnTo>
                    <a:lnTo>
                      <a:pt x="618" y="36"/>
                    </a:lnTo>
                    <a:lnTo>
                      <a:pt x="648" y="34"/>
                    </a:lnTo>
                    <a:lnTo>
                      <a:pt x="648" y="34"/>
                    </a:lnTo>
                    <a:lnTo>
                      <a:pt x="690" y="36"/>
                    </a:lnTo>
                    <a:lnTo>
                      <a:pt x="732" y="40"/>
                    </a:lnTo>
                    <a:lnTo>
                      <a:pt x="772" y="48"/>
                    </a:lnTo>
                    <a:lnTo>
                      <a:pt x="810" y="56"/>
                    </a:lnTo>
                    <a:lnTo>
                      <a:pt x="850" y="68"/>
                    </a:lnTo>
                    <a:lnTo>
                      <a:pt x="886" y="82"/>
                    </a:lnTo>
                    <a:lnTo>
                      <a:pt x="922" y="100"/>
                    </a:lnTo>
                    <a:lnTo>
                      <a:pt x="956" y="118"/>
                    </a:lnTo>
                    <a:lnTo>
                      <a:pt x="990" y="138"/>
                    </a:lnTo>
                    <a:lnTo>
                      <a:pt x="1022" y="162"/>
                    </a:lnTo>
                    <a:lnTo>
                      <a:pt x="1052" y="186"/>
                    </a:lnTo>
                    <a:lnTo>
                      <a:pt x="1080" y="212"/>
                    </a:lnTo>
                    <a:lnTo>
                      <a:pt x="1108" y="242"/>
                    </a:lnTo>
                    <a:lnTo>
                      <a:pt x="1132" y="272"/>
                    </a:lnTo>
                    <a:lnTo>
                      <a:pt x="1156" y="302"/>
                    </a:lnTo>
                    <a:lnTo>
                      <a:pt x="1176" y="336"/>
                    </a:lnTo>
                    <a:lnTo>
                      <a:pt x="1206" y="318"/>
                    </a:lnTo>
                    <a:lnTo>
                      <a:pt x="1206" y="318"/>
                    </a:lnTo>
                    <a:lnTo>
                      <a:pt x="1184" y="282"/>
                    </a:lnTo>
                    <a:lnTo>
                      <a:pt x="1160" y="250"/>
                    </a:lnTo>
                    <a:lnTo>
                      <a:pt x="1134" y="218"/>
                    </a:lnTo>
                    <a:lnTo>
                      <a:pt x="1106" y="188"/>
                    </a:lnTo>
                    <a:lnTo>
                      <a:pt x="1074" y="160"/>
                    </a:lnTo>
                    <a:lnTo>
                      <a:pt x="1044" y="134"/>
                    </a:lnTo>
                    <a:lnTo>
                      <a:pt x="1010" y="110"/>
                    </a:lnTo>
                    <a:lnTo>
                      <a:pt x="974" y="88"/>
                    </a:lnTo>
                    <a:lnTo>
                      <a:pt x="938" y="68"/>
                    </a:lnTo>
                    <a:lnTo>
                      <a:pt x="900" y="50"/>
                    </a:lnTo>
                    <a:lnTo>
                      <a:pt x="860" y="36"/>
                    </a:lnTo>
                    <a:lnTo>
                      <a:pt x="820" y="22"/>
                    </a:lnTo>
                    <a:lnTo>
                      <a:pt x="778" y="12"/>
                    </a:lnTo>
                    <a:lnTo>
                      <a:pt x="736" y="6"/>
                    </a:lnTo>
                    <a:lnTo>
                      <a:pt x="692" y="2"/>
                    </a:lnTo>
                    <a:lnTo>
                      <a:pt x="648" y="0"/>
                    </a:lnTo>
                    <a:lnTo>
                      <a:pt x="648" y="0"/>
                    </a:lnTo>
                    <a:lnTo>
                      <a:pt x="616" y="0"/>
                    </a:lnTo>
                    <a:lnTo>
                      <a:pt x="582" y="4"/>
                    </a:lnTo>
                    <a:lnTo>
                      <a:pt x="550" y="8"/>
                    </a:lnTo>
                    <a:lnTo>
                      <a:pt x="518" y="12"/>
                    </a:lnTo>
                    <a:lnTo>
                      <a:pt x="486" y="20"/>
                    </a:lnTo>
                    <a:lnTo>
                      <a:pt x="456" y="28"/>
                    </a:lnTo>
                    <a:lnTo>
                      <a:pt x="426" y="40"/>
                    </a:lnTo>
                    <a:lnTo>
                      <a:pt x="396" y="50"/>
                    </a:lnTo>
                    <a:lnTo>
                      <a:pt x="368" y="64"/>
                    </a:lnTo>
                    <a:lnTo>
                      <a:pt x="340" y="78"/>
                    </a:lnTo>
                    <a:lnTo>
                      <a:pt x="312" y="94"/>
                    </a:lnTo>
                    <a:lnTo>
                      <a:pt x="286" y="110"/>
                    </a:lnTo>
                    <a:lnTo>
                      <a:pt x="262" y="128"/>
                    </a:lnTo>
                    <a:lnTo>
                      <a:pt x="236" y="148"/>
                    </a:lnTo>
                    <a:lnTo>
                      <a:pt x="214" y="168"/>
                    </a:lnTo>
                    <a:lnTo>
                      <a:pt x="190" y="190"/>
                    </a:lnTo>
                    <a:lnTo>
                      <a:pt x="170" y="212"/>
                    </a:lnTo>
                    <a:lnTo>
                      <a:pt x="148" y="236"/>
                    </a:lnTo>
                    <a:lnTo>
                      <a:pt x="130" y="260"/>
                    </a:lnTo>
                    <a:lnTo>
                      <a:pt x="112" y="286"/>
                    </a:lnTo>
                    <a:lnTo>
                      <a:pt x="94" y="312"/>
                    </a:lnTo>
                    <a:lnTo>
                      <a:pt x="78" y="338"/>
                    </a:lnTo>
                    <a:lnTo>
                      <a:pt x="64" y="366"/>
                    </a:lnTo>
                    <a:lnTo>
                      <a:pt x="52" y="396"/>
                    </a:lnTo>
                    <a:lnTo>
                      <a:pt x="40" y="424"/>
                    </a:lnTo>
                    <a:lnTo>
                      <a:pt x="30" y="456"/>
                    </a:lnTo>
                    <a:lnTo>
                      <a:pt x="22" y="486"/>
                    </a:lnTo>
                    <a:lnTo>
                      <a:pt x="14" y="518"/>
                    </a:lnTo>
                    <a:lnTo>
                      <a:pt x="8" y="550"/>
                    </a:lnTo>
                    <a:lnTo>
                      <a:pt x="4" y="582"/>
                    </a:lnTo>
                    <a:lnTo>
                      <a:pt x="2" y="614"/>
                    </a:lnTo>
                    <a:lnTo>
                      <a:pt x="0" y="648"/>
                    </a:lnTo>
                    <a:lnTo>
                      <a:pt x="0" y="648"/>
                    </a:lnTo>
                    <a:lnTo>
                      <a:pt x="2" y="682"/>
                    </a:lnTo>
                    <a:lnTo>
                      <a:pt x="4" y="714"/>
                    </a:lnTo>
                    <a:lnTo>
                      <a:pt x="8" y="746"/>
                    </a:lnTo>
                    <a:lnTo>
                      <a:pt x="14" y="778"/>
                    </a:lnTo>
                    <a:lnTo>
                      <a:pt x="22" y="810"/>
                    </a:lnTo>
                    <a:lnTo>
                      <a:pt x="30" y="840"/>
                    </a:lnTo>
                    <a:lnTo>
                      <a:pt x="40" y="870"/>
                    </a:lnTo>
                    <a:lnTo>
                      <a:pt x="52" y="900"/>
                    </a:lnTo>
                    <a:lnTo>
                      <a:pt x="64" y="928"/>
                    </a:lnTo>
                    <a:lnTo>
                      <a:pt x="78" y="956"/>
                    </a:lnTo>
                    <a:lnTo>
                      <a:pt x="94" y="984"/>
                    </a:lnTo>
                    <a:lnTo>
                      <a:pt x="112" y="1010"/>
                    </a:lnTo>
                    <a:lnTo>
                      <a:pt x="130" y="1036"/>
                    </a:lnTo>
                    <a:lnTo>
                      <a:pt x="148" y="1060"/>
                    </a:lnTo>
                    <a:lnTo>
                      <a:pt x="170" y="1084"/>
                    </a:lnTo>
                    <a:lnTo>
                      <a:pt x="190" y="1106"/>
                    </a:lnTo>
                    <a:lnTo>
                      <a:pt x="214" y="1128"/>
                    </a:lnTo>
                    <a:lnTo>
                      <a:pt x="236" y="1148"/>
                    </a:lnTo>
                    <a:lnTo>
                      <a:pt x="262" y="1168"/>
                    </a:lnTo>
                    <a:lnTo>
                      <a:pt x="286" y="1186"/>
                    </a:lnTo>
                    <a:lnTo>
                      <a:pt x="312" y="1202"/>
                    </a:lnTo>
                    <a:lnTo>
                      <a:pt x="340" y="1218"/>
                    </a:lnTo>
                    <a:lnTo>
                      <a:pt x="368" y="1232"/>
                    </a:lnTo>
                    <a:lnTo>
                      <a:pt x="396" y="1244"/>
                    </a:lnTo>
                    <a:lnTo>
                      <a:pt x="426" y="1256"/>
                    </a:lnTo>
                    <a:lnTo>
                      <a:pt x="456" y="1266"/>
                    </a:lnTo>
                    <a:lnTo>
                      <a:pt x="486" y="1276"/>
                    </a:lnTo>
                    <a:lnTo>
                      <a:pt x="518" y="1282"/>
                    </a:lnTo>
                    <a:lnTo>
                      <a:pt x="550" y="1288"/>
                    </a:lnTo>
                    <a:lnTo>
                      <a:pt x="582" y="1292"/>
                    </a:lnTo>
                    <a:lnTo>
                      <a:pt x="616" y="1294"/>
                    </a:lnTo>
                    <a:lnTo>
                      <a:pt x="648" y="1296"/>
                    </a:lnTo>
                    <a:lnTo>
                      <a:pt x="648" y="1296"/>
                    </a:lnTo>
                    <a:lnTo>
                      <a:pt x="682" y="1294"/>
                    </a:lnTo>
                    <a:lnTo>
                      <a:pt x="716" y="1292"/>
                    </a:lnTo>
                    <a:lnTo>
                      <a:pt x="748" y="1288"/>
                    </a:lnTo>
                    <a:lnTo>
                      <a:pt x="780" y="1282"/>
                    </a:lnTo>
                    <a:lnTo>
                      <a:pt x="810" y="1276"/>
                    </a:lnTo>
                    <a:lnTo>
                      <a:pt x="842" y="1266"/>
                    </a:lnTo>
                    <a:lnTo>
                      <a:pt x="872" y="1256"/>
                    </a:lnTo>
                    <a:lnTo>
                      <a:pt x="900" y="1244"/>
                    </a:lnTo>
                    <a:lnTo>
                      <a:pt x="930" y="1232"/>
                    </a:lnTo>
                    <a:lnTo>
                      <a:pt x="958" y="1218"/>
                    </a:lnTo>
                    <a:lnTo>
                      <a:pt x="984" y="1202"/>
                    </a:lnTo>
                    <a:lnTo>
                      <a:pt x="1012" y="1186"/>
                    </a:lnTo>
                    <a:lnTo>
                      <a:pt x="1036" y="1168"/>
                    </a:lnTo>
                    <a:lnTo>
                      <a:pt x="1060" y="1148"/>
                    </a:lnTo>
                    <a:lnTo>
                      <a:pt x="1084" y="1128"/>
                    </a:lnTo>
                    <a:lnTo>
                      <a:pt x="1106" y="1106"/>
                    </a:lnTo>
                    <a:lnTo>
                      <a:pt x="1128" y="1084"/>
                    </a:lnTo>
                    <a:lnTo>
                      <a:pt x="1148" y="1060"/>
                    </a:lnTo>
                    <a:lnTo>
                      <a:pt x="1168" y="1036"/>
                    </a:lnTo>
                    <a:lnTo>
                      <a:pt x="1186" y="1010"/>
                    </a:lnTo>
                    <a:lnTo>
                      <a:pt x="1202" y="984"/>
                    </a:lnTo>
                    <a:lnTo>
                      <a:pt x="1218" y="956"/>
                    </a:lnTo>
                    <a:lnTo>
                      <a:pt x="1232" y="928"/>
                    </a:lnTo>
                    <a:lnTo>
                      <a:pt x="1246" y="900"/>
                    </a:lnTo>
                    <a:lnTo>
                      <a:pt x="1258" y="870"/>
                    </a:lnTo>
                    <a:lnTo>
                      <a:pt x="1268" y="840"/>
                    </a:lnTo>
                    <a:lnTo>
                      <a:pt x="1276" y="810"/>
                    </a:lnTo>
                    <a:lnTo>
                      <a:pt x="1284" y="778"/>
                    </a:lnTo>
                    <a:lnTo>
                      <a:pt x="1290" y="746"/>
                    </a:lnTo>
                    <a:lnTo>
                      <a:pt x="1294" y="714"/>
                    </a:lnTo>
                    <a:lnTo>
                      <a:pt x="1296" y="682"/>
                    </a:lnTo>
                    <a:lnTo>
                      <a:pt x="1296" y="648"/>
                    </a:lnTo>
                    <a:lnTo>
                      <a:pt x="1296" y="648"/>
                    </a:lnTo>
                    <a:lnTo>
                      <a:pt x="1296" y="610"/>
                    </a:lnTo>
                    <a:lnTo>
                      <a:pt x="1292" y="572"/>
                    </a:lnTo>
                    <a:lnTo>
                      <a:pt x="1288" y="536"/>
                    </a:lnTo>
                    <a:lnTo>
                      <a:pt x="1280" y="500"/>
                    </a:lnTo>
                    <a:lnTo>
                      <a:pt x="1270" y="464"/>
                    </a:lnTo>
                    <a:lnTo>
                      <a:pt x="1258" y="430"/>
                    </a:lnTo>
                    <a:lnTo>
                      <a:pt x="1246" y="396"/>
                    </a:lnTo>
                    <a:lnTo>
                      <a:pt x="1230" y="362"/>
                    </a:lnTo>
                    <a:lnTo>
                      <a:pt x="1200" y="3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3714454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Replace this 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4</a:t>
            </a:fld>
            <a:r>
              <a:rPr lang="en-US" dirty="0" smtClean="0"/>
              <a:t> I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SINESS PLAN</a:t>
            </a:r>
            <a:endParaRPr lang="en-US" dirty="0">
              <a:latin typeface="+mn-lt"/>
            </a:endParaRPr>
          </a:p>
        </p:txBody>
      </p:sp>
      <p:sp>
        <p:nvSpPr>
          <p:cNvPr id="49" name="Rectangle 14"/>
          <p:cNvSpPr>
            <a:spLocks noChangeArrowheads="1"/>
          </p:cNvSpPr>
          <p:nvPr/>
        </p:nvSpPr>
        <p:spPr bwMode="auto">
          <a:xfrm>
            <a:off x="1720608" y="1555749"/>
            <a:ext cx="1636533" cy="1036042"/>
          </a:xfrm>
          <a:prstGeom prst="rect">
            <a:avLst/>
          </a:prstGeom>
          <a:solidFill>
            <a:srgbClr val="2A9B18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anchor="ctr"/>
          <a:lstStyle/>
          <a:p>
            <a:r>
              <a:rPr lang="en-US" sz="1200" b="1" noProof="1">
                <a:solidFill>
                  <a:schemeClr val="bg1"/>
                </a:solidFill>
                <a:latin typeface="Calibri" charset="0"/>
                <a:cs typeface="Arial" charset="0"/>
              </a:rPr>
              <a:t>Objectives</a:t>
            </a:r>
          </a:p>
          <a:p>
            <a:endParaRPr lang="en-US" sz="1200" b="1" noProof="1">
              <a:solidFill>
                <a:srgbClr val="FFFFFF"/>
              </a:solidFill>
              <a:latin typeface="Calibri" charset="0"/>
              <a:cs typeface="Arial" charset="0"/>
            </a:endParaRPr>
          </a:p>
          <a:p>
            <a:r>
              <a:rPr lang="en-US" sz="1100" noProof="1">
                <a:solidFill>
                  <a:srgbClr val="FFFFFF"/>
                </a:solidFill>
                <a:latin typeface="Calibri" charset="0"/>
                <a:cs typeface="Arial" charset="0"/>
              </a:rPr>
              <a:t>Go ahead and replace it with your own text. This is an example text. </a:t>
            </a:r>
            <a:endParaRPr lang="da-DK" sz="1100" dirty="0">
              <a:solidFill>
                <a:srgbClr val="FFFFFF"/>
              </a:solidFill>
              <a:latin typeface="Calibri" charset="0"/>
            </a:endParaRPr>
          </a:p>
        </p:txBody>
      </p:sp>
      <p:sp>
        <p:nvSpPr>
          <p:cNvPr id="50" name="Rectangle 15"/>
          <p:cNvSpPr>
            <a:spLocks noChangeArrowheads="1"/>
          </p:cNvSpPr>
          <p:nvPr/>
        </p:nvSpPr>
        <p:spPr bwMode="auto">
          <a:xfrm>
            <a:off x="1720608" y="3140738"/>
            <a:ext cx="1636533" cy="1036042"/>
          </a:xfrm>
          <a:prstGeom prst="rect">
            <a:avLst/>
          </a:prstGeom>
          <a:solidFill>
            <a:srgbClr val="D5D5D5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  <a:extLst/>
        </p:spPr>
        <p:txBody>
          <a:bodyPr anchor="t"/>
          <a:lstStyle/>
          <a:p>
            <a:r>
              <a:rPr lang="en-US" sz="1200" b="1" noProof="1">
                <a:solidFill>
                  <a:srgbClr val="000000"/>
                </a:solidFill>
                <a:latin typeface="Calibri" charset="0"/>
                <a:cs typeface="Arial" charset="0"/>
              </a:rPr>
              <a:t>Example text</a:t>
            </a:r>
          </a:p>
          <a:p>
            <a:endParaRPr lang="en-US" sz="1200" b="1" noProof="1">
              <a:solidFill>
                <a:srgbClr val="000000"/>
              </a:solidFill>
              <a:latin typeface="Calibri" charset="0"/>
              <a:cs typeface="Arial" charset="0"/>
            </a:endParaRPr>
          </a:p>
          <a:p>
            <a:r>
              <a:rPr lang="en-US" sz="1100" noProof="1">
                <a:solidFill>
                  <a:srgbClr val="000000"/>
                </a:solidFill>
                <a:latin typeface="Calibri" charset="0"/>
                <a:cs typeface="Arial" charset="0"/>
              </a:rPr>
              <a:t>Go ahead and replace it with your own text. This is an example text. </a:t>
            </a:r>
            <a:endParaRPr lang="da-DK" sz="1100" dirty="0">
              <a:solidFill>
                <a:srgbClr val="000000"/>
              </a:solidFill>
              <a:latin typeface="Calibri" charset="0"/>
            </a:endParaRPr>
          </a:p>
          <a:p>
            <a:pPr algn="ctr"/>
            <a:endParaRPr lang="en-US" sz="1100" dirty="0">
              <a:solidFill>
                <a:srgbClr val="000000"/>
              </a:solidFill>
              <a:latin typeface="Calibri" charset="0"/>
            </a:endParaRPr>
          </a:p>
        </p:txBody>
      </p:sp>
      <p:sp>
        <p:nvSpPr>
          <p:cNvPr id="53" name="Rectangle 18"/>
          <p:cNvSpPr>
            <a:spLocks noChangeArrowheads="1"/>
          </p:cNvSpPr>
          <p:nvPr/>
        </p:nvSpPr>
        <p:spPr bwMode="auto">
          <a:xfrm>
            <a:off x="1720608" y="4757943"/>
            <a:ext cx="1636533" cy="1027021"/>
          </a:xfrm>
          <a:prstGeom prst="rect">
            <a:avLst/>
          </a:prstGeom>
          <a:solidFill>
            <a:srgbClr val="0D65AC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lIns="91440" anchor="t"/>
          <a:lstStyle/>
          <a:p>
            <a:r>
              <a:rPr lang="en-US" sz="1200" b="1" noProof="1">
                <a:solidFill>
                  <a:srgbClr val="FFFFFF"/>
                </a:solidFill>
                <a:latin typeface="Calibri" charset="0"/>
                <a:cs typeface="Arial" charset="0"/>
              </a:rPr>
              <a:t>Example text</a:t>
            </a:r>
          </a:p>
          <a:p>
            <a:endParaRPr lang="en-US" sz="1200" b="1" noProof="1">
              <a:solidFill>
                <a:srgbClr val="FFFFFF"/>
              </a:solidFill>
              <a:latin typeface="Calibri" charset="0"/>
              <a:cs typeface="Arial" charset="0"/>
            </a:endParaRPr>
          </a:p>
          <a:p>
            <a:r>
              <a:rPr lang="en-US" sz="1100" noProof="1">
                <a:solidFill>
                  <a:srgbClr val="FFFFFF"/>
                </a:solidFill>
                <a:latin typeface="Calibri" charset="0"/>
                <a:cs typeface="Arial" charset="0"/>
              </a:rPr>
              <a:t>Go ahead and replace it with your own text. This is an example text. </a:t>
            </a:r>
            <a:endParaRPr lang="da-DK" sz="1100" dirty="0">
              <a:solidFill>
                <a:srgbClr val="FFFFFF"/>
              </a:solidFill>
              <a:latin typeface="Calibri" charset="0"/>
            </a:endParaRPr>
          </a:p>
        </p:txBody>
      </p:sp>
      <p:sp>
        <p:nvSpPr>
          <p:cNvPr id="55" name="Rectangle 20"/>
          <p:cNvSpPr>
            <a:spLocks noChangeArrowheads="1"/>
          </p:cNvSpPr>
          <p:nvPr/>
        </p:nvSpPr>
        <p:spPr bwMode="auto">
          <a:xfrm>
            <a:off x="3748878" y="1568635"/>
            <a:ext cx="1636533" cy="1037331"/>
          </a:xfrm>
          <a:prstGeom prst="rect">
            <a:avLst/>
          </a:prstGeom>
          <a:solidFill>
            <a:srgbClr val="2A9B18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anchor="ctr"/>
          <a:lstStyle/>
          <a:p>
            <a:r>
              <a:rPr lang="en-US" sz="1200" b="1" noProof="1">
                <a:solidFill>
                  <a:schemeClr val="bg1"/>
                </a:solidFill>
                <a:latin typeface="Calibri" charset="0"/>
                <a:cs typeface="Arial" charset="0"/>
              </a:rPr>
              <a:t>Mission</a:t>
            </a:r>
          </a:p>
          <a:p>
            <a:endParaRPr lang="en-US" sz="1200" b="1" noProof="1">
              <a:solidFill>
                <a:srgbClr val="FFFFFF"/>
              </a:solidFill>
              <a:latin typeface="Calibri" charset="0"/>
              <a:cs typeface="Arial" charset="0"/>
            </a:endParaRPr>
          </a:p>
          <a:p>
            <a:r>
              <a:rPr lang="en-US" sz="1100" noProof="1">
                <a:solidFill>
                  <a:srgbClr val="FFFFFF"/>
                </a:solidFill>
                <a:latin typeface="Calibri" charset="0"/>
                <a:cs typeface="Arial" charset="0"/>
              </a:rPr>
              <a:t>Go ahead and replace it with your own text. This is an example text. </a:t>
            </a:r>
            <a:endParaRPr lang="da-DK" sz="1100" dirty="0">
              <a:solidFill>
                <a:srgbClr val="FFFFFF"/>
              </a:solidFill>
              <a:latin typeface="Calibri" charset="0"/>
            </a:endParaRPr>
          </a:p>
        </p:txBody>
      </p:sp>
      <p:sp>
        <p:nvSpPr>
          <p:cNvPr id="56" name="Rectangle 21"/>
          <p:cNvSpPr>
            <a:spLocks noChangeArrowheads="1"/>
          </p:cNvSpPr>
          <p:nvPr/>
        </p:nvSpPr>
        <p:spPr bwMode="auto">
          <a:xfrm>
            <a:off x="3748878" y="3154913"/>
            <a:ext cx="1636533" cy="1036042"/>
          </a:xfrm>
          <a:prstGeom prst="rect">
            <a:avLst/>
          </a:prstGeom>
          <a:solidFill>
            <a:srgbClr val="D5D5D5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  <a:extLst/>
        </p:spPr>
        <p:txBody>
          <a:bodyPr anchor="ctr"/>
          <a:lstStyle/>
          <a:p>
            <a:r>
              <a:rPr lang="en-US" sz="1200" b="1" noProof="1">
                <a:solidFill>
                  <a:srgbClr val="000000"/>
                </a:solidFill>
                <a:latin typeface="Calibri" charset="0"/>
                <a:cs typeface="Arial" charset="0"/>
              </a:rPr>
              <a:t>Example text</a:t>
            </a:r>
          </a:p>
          <a:p>
            <a:endParaRPr lang="en-US" sz="1200" b="1" noProof="1">
              <a:solidFill>
                <a:srgbClr val="000000"/>
              </a:solidFill>
              <a:latin typeface="Calibri" charset="0"/>
              <a:cs typeface="Arial" charset="0"/>
            </a:endParaRPr>
          </a:p>
          <a:p>
            <a:r>
              <a:rPr lang="en-US" sz="1100" noProof="1">
                <a:solidFill>
                  <a:srgbClr val="000000"/>
                </a:solidFill>
                <a:latin typeface="Calibri" charset="0"/>
                <a:cs typeface="Arial" charset="0"/>
              </a:rPr>
              <a:t>Go ahead and replace it with your own text. This is an example text. </a:t>
            </a:r>
            <a:endParaRPr lang="da-DK" sz="1100" dirty="0">
              <a:solidFill>
                <a:srgbClr val="000000"/>
              </a:solidFill>
              <a:latin typeface="Calibri" charset="0"/>
            </a:endParaRPr>
          </a:p>
        </p:txBody>
      </p:sp>
      <p:sp>
        <p:nvSpPr>
          <p:cNvPr id="59" name="Rectangle 24"/>
          <p:cNvSpPr>
            <a:spLocks noChangeArrowheads="1"/>
          </p:cNvSpPr>
          <p:nvPr/>
        </p:nvSpPr>
        <p:spPr bwMode="auto">
          <a:xfrm>
            <a:off x="3748878" y="4772117"/>
            <a:ext cx="1636533" cy="1027022"/>
          </a:xfrm>
          <a:prstGeom prst="rect">
            <a:avLst/>
          </a:prstGeom>
          <a:solidFill>
            <a:srgbClr val="0D65AC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anchor="t"/>
          <a:lstStyle/>
          <a:p>
            <a:r>
              <a:rPr lang="en-US" sz="1200" b="1" noProof="1">
                <a:solidFill>
                  <a:srgbClr val="FFFFFF"/>
                </a:solidFill>
                <a:latin typeface="Calibri" charset="0"/>
                <a:cs typeface="Arial" charset="0"/>
              </a:rPr>
              <a:t>Example text</a:t>
            </a:r>
          </a:p>
          <a:p>
            <a:endParaRPr lang="en-US" sz="1200" b="1" noProof="1">
              <a:solidFill>
                <a:srgbClr val="FFFFFF"/>
              </a:solidFill>
              <a:latin typeface="Calibri" charset="0"/>
              <a:cs typeface="Arial" charset="0"/>
            </a:endParaRPr>
          </a:p>
          <a:p>
            <a:r>
              <a:rPr lang="en-US" sz="1100" noProof="1">
                <a:solidFill>
                  <a:srgbClr val="FFFFFF"/>
                </a:solidFill>
                <a:latin typeface="Calibri" charset="0"/>
                <a:cs typeface="Arial" charset="0"/>
              </a:rPr>
              <a:t>Go ahead and replace it with your own text. This is an example text. </a:t>
            </a:r>
            <a:endParaRPr lang="da-DK" sz="1100" dirty="0">
              <a:solidFill>
                <a:srgbClr val="FFFFFF"/>
              </a:solidFill>
              <a:latin typeface="Calibri" charset="0"/>
            </a:endParaRPr>
          </a:p>
          <a:p>
            <a:pPr algn="ctr"/>
            <a:endParaRPr lang="en-US" sz="1200" dirty="0">
              <a:solidFill>
                <a:srgbClr val="FFFFFF"/>
              </a:solidFill>
              <a:latin typeface="Calibri" charset="0"/>
            </a:endParaRPr>
          </a:p>
        </p:txBody>
      </p:sp>
      <p:sp>
        <p:nvSpPr>
          <p:cNvPr id="61" name="Rectangle 26"/>
          <p:cNvSpPr>
            <a:spLocks noChangeArrowheads="1"/>
          </p:cNvSpPr>
          <p:nvPr/>
        </p:nvSpPr>
        <p:spPr bwMode="auto">
          <a:xfrm>
            <a:off x="5790035" y="1555749"/>
            <a:ext cx="1636533" cy="1036042"/>
          </a:xfrm>
          <a:prstGeom prst="rect">
            <a:avLst/>
          </a:prstGeom>
          <a:solidFill>
            <a:srgbClr val="2A9B18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anchor="ctr"/>
          <a:lstStyle/>
          <a:p>
            <a:r>
              <a:rPr lang="en-US" sz="1200" b="1" noProof="1">
                <a:solidFill>
                  <a:schemeClr val="bg1"/>
                </a:solidFill>
                <a:latin typeface="Calibri" charset="0"/>
                <a:cs typeface="Arial" charset="0"/>
              </a:rPr>
              <a:t>Success Factors</a:t>
            </a:r>
          </a:p>
          <a:p>
            <a:endParaRPr lang="en-US" sz="1200" b="1" noProof="1">
              <a:solidFill>
                <a:srgbClr val="FFFFFF"/>
              </a:solidFill>
              <a:latin typeface="Calibri" charset="0"/>
              <a:cs typeface="Arial" charset="0"/>
            </a:endParaRPr>
          </a:p>
          <a:p>
            <a:r>
              <a:rPr lang="en-US" sz="1100" noProof="1">
                <a:solidFill>
                  <a:srgbClr val="FFFFFF"/>
                </a:solidFill>
                <a:latin typeface="Calibri" charset="0"/>
                <a:cs typeface="Arial" charset="0"/>
              </a:rPr>
              <a:t>Go ahead and replace it with your own text. This is an example text. </a:t>
            </a:r>
            <a:endParaRPr lang="da-DK" sz="1100" dirty="0">
              <a:solidFill>
                <a:srgbClr val="FFFFFF"/>
              </a:solidFill>
              <a:latin typeface="Calibri" charset="0"/>
            </a:endParaRPr>
          </a:p>
        </p:txBody>
      </p:sp>
      <p:sp>
        <p:nvSpPr>
          <p:cNvPr id="62" name="Rectangle 27"/>
          <p:cNvSpPr>
            <a:spLocks noChangeArrowheads="1"/>
          </p:cNvSpPr>
          <p:nvPr/>
        </p:nvSpPr>
        <p:spPr bwMode="auto">
          <a:xfrm>
            <a:off x="5790035" y="3140738"/>
            <a:ext cx="1636533" cy="1036042"/>
          </a:xfrm>
          <a:prstGeom prst="rect">
            <a:avLst/>
          </a:prstGeom>
          <a:solidFill>
            <a:srgbClr val="D5D5D5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  <a:extLst/>
        </p:spPr>
        <p:txBody>
          <a:bodyPr anchor="ctr"/>
          <a:lstStyle/>
          <a:p>
            <a:r>
              <a:rPr lang="en-US" sz="1200" b="1" noProof="1">
                <a:solidFill>
                  <a:srgbClr val="000000"/>
                </a:solidFill>
                <a:latin typeface="Calibri" charset="0"/>
                <a:cs typeface="Arial" charset="0"/>
              </a:rPr>
              <a:t>Example text</a:t>
            </a:r>
          </a:p>
          <a:p>
            <a:endParaRPr lang="en-US" sz="1200" b="1" noProof="1">
              <a:solidFill>
                <a:srgbClr val="000000"/>
              </a:solidFill>
              <a:latin typeface="Calibri" charset="0"/>
              <a:cs typeface="Arial" charset="0"/>
            </a:endParaRPr>
          </a:p>
          <a:p>
            <a:r>
              <a:rPr lang="en-US" sz="1100" noProof="1">
                <a:solidFill>
                  <a:srgbClr val="000000"/>
                </a:solidFill>
                <a:latin typeface="Calibri" charset="0"/>
                <a:cs typeface="Arial" charset="0"/>
              </a:rPr>
              <a:t>Go ahead and replace it with your own text. This is an example text. </a:t>
            </a:r>
            <a:endParaRPr lang="da-DK" sz="1100" dirty="0">
              <a:solidFill>
                <a:srgbClr val="000000"/>
              </a:solidFill>
              <a:latin typeface="Calibri" charset="0"/>
            </a:endParaRPr>
          </a:p>
        </p:txBody>
      </p:sp>
      <p:sp>
        <p:nvSpPr>
          <p:cNvPr id="65" name="Rectangle 30"/>
          <p:cNvSpPr>
            <a:spLocks noChangeArrowheads="1"/>
          </p:cNvSpPr>
          <p:nvPr/>
        </p:nvSpPr>
        <p:spPr bwMode="auto">
          <a:xfrm>
            <a:off x="5790035" y="4757943"/>
            <a:ext cx="1636533" cy="1027021"/>
          </a:xfrm>
          <a:prstGeom prst="rect">
            <a:avLst/>
          </a:prstGeom>
          <a:solidFill>
            <a:srgbClr val="0D65AC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lIns="91440" anchor="t"/>
          <a:lstStyle/>
          <a:p>
            <a:r>
              <a:rPr lang="en-US" sz="1200" b="1" noProof="1">
                <a:solidFill>
                  <a:srgbClr val="FFFFFF"/>
                </a:solidFill>
                <a:latin typeface="Calibri" charset="0"/>
                <a:cs typeface="Arial" charset="0"/>
              </a:rPr>
              <a:t>Example text</a:t>
            </a:r>
          </a:p>
          <a:p>
            <a:endParaRPr lang="en-US" sz="1400" b="1" noProof="1">
              <a:solidFill>
                <a:srgbClr val="FFFFFF"/>
              </a:solidFill>
              <a:latin typeface="Calibri" charset="0"/>
              <a:cs typeface="Arial" charset="0"/>
            </a:endParaRPr>
          </a:p>
          <a:p>
            <a:r>
              <a:rPr lang="en-US" sz="1100" noProof="1">
                <a:solidFill>
                  <a:srgbClr val="FFFFFF"/>
                </a:solidFill>
                <a:latin typeface="Calibri" charset="0"/>
                <a:cs typeface="Arial" charset="0"/>
              </a:rPr>
              <a:t>Go ahead and replace it with your own text. This is an example text. </a:t>
            </a:r>
            <a:endParaRPr lang="da-DK" sz="1100" dirty="0">
              <a:solidFill>
                <a:srgbClr val="FFFFFF"/>
              </a:solidFill>
              <a:latin typeface="Calibri" charset="0"/>
            </a:endParaRPr>
          </a:p>
          <a:p>
            <a:pPr algn="ctr"/>
            <a:endParaRPr lang="en-US" sz="1400" dirty="0">
              <a:solidFill>
                <a:srgbClr val="FFFFFF"/>
              </a:solidFill>
              <a:latin typeface="Calibri" charset="0"/>
            </a:endParaRPr>
          </a:p>
        </p:txBody>
      </p:sp>
      <p:sp>
        <p:nvSpPr>
          <p:cNvPr id="67" name="Line 33"/>
          <p:cNvSpPr>
            <a:spLocks noChangeShapeType="1"/>
          </p:cNvSpPr>
          <p:nvPr/>
        </p:nvSpPr>
        <p:spPr bwMode="auto">
          <a:xfrm rot="5400000" flipH="1" flipV="1">
            <a:off x="3553010" y="1877901"/>
            <a:ext cx="0" cy="391737"/>
          </a:xfrm>
          <a:prstGeom prst="line">
            <a:avLst/>
          </a:prstGeom>
          <a:noFill/>
          <a:ln w="6350">
            <a:solidFill>
              <a:schemeClr val="bg1"/>
            </a:solidFill>
            <a:prstDash val="sysDash"/>
            <a:round/>
            <a:headEnd/>
            <a:tailEnd/>
          </a:ln>
          <a:effectLst/>
        </p:spPr>
        <p:txBody>
          <a:bodyPr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400" kern="0">
              <a:solidFill>
                <a:sysClr val="windowText" lastClr="000000"/>
              </a:solidFill>
              <a:latin typeface="Arial" pitchFamily="34" charset="0"/>
              <a:ea typeface="ＭＳ Ｐゴシック" pitchFamily="-65" charset="-128"/>
              <a:cs typeface="ＭＳ Ｐゴシック" pitchFamily="-65" charset="-128"/>
            </a:endParaRPr>
          </a:p>
        </p:txBody>
      </p:sp>
      <p:sp>
        <p:nvSpPr>
          <p:cNvPr id="68" name="Line 33"/>
          <p:cNvSpPr>
            <a:spLocks noChangeShapeType="1"/>
          </p:cNvSpPr>
          <p:nvPr/>
        </p:nvSpPr>
        <p:spPr bwMode="auto">
          <a:xfrm rot="5400000" flipH="1" flipV="1">
            <a:off x="3553010" y="3486085"/>
            <a:ext cx="0" cy="391737"/>
          </a:xfrm>
          <a:prstGeom prst="line">
            <a:avLst/>
          </a:prstGeom>
          <a:noFill/>
          <a:ln w="6350">
            <a:solidFill>
              <a:schemeClr val="bg1"/>
            </a:solidFill>
            <a:prstDash val="sysDash"/>
            <a:round/>
            <a:headEnd/>
            <a:tailEnd/>
          </a:ln>
          <a:effectLst/>
        </p:spPr>
        <p:txBody>
          <a:bodyPr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400" kern="0">
              <a:solidFill>
                <a:sysClr val="windowText" lastClr="000000"/>
              </a:solidFill>
              <a:latin typeface="Arial" pitchFamily="34" charset="0"/>
              <a:ea typeface="ＭＳ Ｐゴシック" pitchFamily="-65" charset="-128"/>
              <a:cs typeface="ＭＳ Ｐゴシック" pitchFamily="-65" charset="-128"/>
            </a:endParaRPr>
          </a:p>
        </p:txBody>
      </p:sp>
      <p:sp>
        <p:nvSpPr>
          <p:cNvPr id="69" name="Line 33"/>
          <p:cNvSpPr>
            <a:spLocks noChangeShapeType="1"/>
          </p:cNvSpPr>
          <p:nvPr/>
        </p:nvSpPr>
        <p:spPr bwMode="auto">
          <a:xfrm rot="5400000" flipH="1" flipV="1">
            <a:off x="3553010" y="5094269"/>
            <a:ext cx="0" cy="391737"/>
          </a:xfrm>
          <a:prstGeom prst="line">
            <a:avLst/>
          </a:prstGeom>
          <a:noFill/>
          <a:ln w="6350">
            <a:solidFill>
              <a:schemeClr val="bg1"/>
            </a:solidFill>
            <a:prstDash val="sysDash"/>
            <a:round/>
            <a:headEnd/>
            <a:tailEnd/>
          </a:ln>
          <a:effectLst/>
        </p:spPr>
        <p:txBody>
          <a:bodyPr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400" kern="0">
              <a:solidFill>
                <a:srgbClr val="FFFFFF"/>
              </a:solidFill>
              <a:latin typeface="Arial" pitchFamily="34" charset="0"/>
              <a:ea typeface="ＭＳ Ｐゴシック" pitchFamily="-65" charset="-128"/>
              <a:cs typeface="ＭＳ Ｐゴシック" pitchFamily="-65" charset="-128"/>
            </a:endParaRPr>
          </a:p>
        </p:txBody>
      </p:sp>
      <p:sp>
        <p:nvSpPr>
          <p:cNvPr id="70" name="Line 33"/>
          <p:cNvSpPr>
            <a:spLocks noChangeShapeType="1"/>
          </p:cNvSpPr>
          <p:nvPr/>
        </p:nvSpPr>
        <p:spPr bwMode="auto">
          <a:xfrm rot="5400000" flipH="1" flipV="1">
            <a:off x="5581280" y="1877901"/>
            <a:ext cx="0" cy="391737"/>
          </a:xfrm>
          <a:prstGeom prst="line">
            <a:avLst/>
          </a:prstGeom>
          <a:noFill/>
          <a:ln w="6350">
            <a:solidFill>
              <a:schemeClr val="bg1"/>
            </a:solidFill>
            <a:prstDash val="sysDash"/>
            <a:round/>
            <a:headEnd/>
            <a:tailEnd/>
          </a:ln>
          <a:effectLst/>
        </p:spPr>
        <p:txBody>
          <a:bodyPr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400" kern="0">
              <a:solidFill>
                <a:sysClr val="windowText" lastClr="000000"/>
              </a:solidFill>
              <a:latin typeface="Arial" pitchFamily="34" charset="0"/>
              <a:ea typeface="ＭＳ Ｐゴシック" pitchFamily="-65" charset="-128"/>
              <a:cs typeface="ＭＳ Ｐゴシック" pitchFamily="-65" charset="-128"/>
            </a:endParaRPr>
          </a:p>
        </p:txBody>
      </p:sp>
      <p:sp>
        <p:nvSpPr>
          <p:cNvPr id="71" name="Line 33"/>
          <p:cNvSpPr>
            <a:spLocks noChangeShapeType="1"/>
          </p:cNvSpPr>
          <p:nvPr/>
        </p:nvSpPr>
        <p:spPr bwMode="auto">
          <a:xfrm rot="5400000" flipH="1" flipV="1">
            <a:off x="5594166" y="3486085"/>
            <a:ext cx="0" cy="391737"/>
          </a:xfrm>
          <a:prstGeom prst="line">
            <a:avLst/>
          </a:prstGeom>
          <a:noFill/>
          <a:ln w="6350">
            <a:solidFill>
              <a:schemeClr val="bg1"/>
            </a:solidFill>
            <a:prstDash val="sysDash"/>
            <a:round/>
            <a:headEnd/>
            <a:tailEnd/>
          </a:ln>
          <a:effectLst/>
        </p:spPr>
        <p:txBody>
          <a:bodyPr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400" kern="0">
              <a:solidFill>
                <a:sysClr val="windowText" lastClr="000000"/>
              </a:solidFill>
              <a:latin typeface="Arial" pitchFamily="34" charset="0"/>
              <a:ea typeface="ＭＳ Ｐゴシック" pitchFamily="-65" charset="-128"/>
              <a:cs typeface="ＭＳ Ｐゴシック" pitchFamily="-65" charset="-128"/>
            </a:endParaRPr>
          </a:p>
        </p:txBody>
      </p:sp>
      <p:sp>
        <p:nvSpPr>
          <p:cNvPr id="72" name="Line 33"/>
          <p:cNvSpPr>
            <a:spLocks noChangeShapeType="1"/>
          </p:cNvSpPr>
          <p:nvPr/>
        </p:nvSpPr>
        <p:spPr bwMode="auto">
          <a:xfrm rot="5400000" flipH="1" flipV="1">
            <a:off x="5581280" y="5094269"/>
            <a:ext cx="0" cy="391737"/>
          </a:xfrm>
          <a:prstGeom prst="line">
            <a:avLst/>
          </a:prstGeom>
          <a:noFill/>
          <a:ln w="6350">
            <a:solidFill>
              <a:schemeClr val="bg1"/>
            </a:solidFill>
            <a:prstDash val="sysDash"/>
            <a:round/>
            <a:headEnd/>
            <a:tailEnd/>
          </a:ln>
          <a:effectLst/>
        </p:spPr>
        <p:txBody>
          <a:bodyPr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400" kern="0">
              <a:solidFill>
                <a:srgbClr val="FFFFFF"/>
              </a:solidFill>
              <a:latin typeface="Arial" pitchFamily="34" charset="0"/>
              <a:ea typeface="ＭＳ Ｐゴシック" pitchFamily="-65" charset="-128"/>
              <a:cs typeface="ＭＳ Ｐゴシック" pitchFamily="-65" charset="-128"/>
            </a:endParaRPr>
          </a:p>
        </p:txBody>
      </p:sp>
      <p:sp>
        <p:nvSpPr>
          <p:cNvPr id="73" name="Line 33"/>
          <p:cNvSpPr>
            <a:spLocks noChangeShapeType="1"/>
          </p:cNvSpPr>
          <p:nvPr/>
        </p:nvSpPr>
        <p:spPr bwMode="auto">
          <a:xfrm flipH="1">
            <a:off x="2500216" y="2591791"/>
            <a:ext cx="0" cy="533484"/>
          </a:xfrm>
          <a:prstGeom prst="line">
            <a:avLst/>
          </a:prstGeom>
          <a:noFill/>
          <a:ln w="6350">
            <a:solidFill>
              <a:schemeClr val="bg1"/>
            </a:solidFill>
            <a:prstDash val="sysDash"/>
            <a:round/>
            <a:headEnd/>
            <a:tailEnd/>
          </a:ln>
          <a:effectLst/>
        </p:spPr>
        <p:txBody>
          <a:bodyPr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400" kern="0">
              <a:solidFill>
                <a:sysClr val="windowText" lastClr="000000"/>
              </a:solidFill>
              <a:latin typeface="Arial" pitchFamily="34" charset="0"/>
              <a:ea typeface="ＭＳ Ｐゴシック" pitchFamily="-65" charset="-128"/>
              <a:cs typeface="ＭＳ Ｐゴシック" pitchFamily="-65" charset="-128"/>
            </a:endParaRPr>
          </a:p>
        </p:txBody>
      </p:sp>
      <p:sp>
        <p:nvSpPr>
          <p:cNvPr id="74" name="Line 33"/>
          <p:cNvSpPr>
            <a:spLocks noChangeShapeType="1"/>
          </p:cNvSpPr>
          <p:nvPr/>
        </p:nvSpPr>
        <p:spPr bwMode="auto">
          <a:xfrm flipH="1">
            <a:off x="4582608" y="2621429"/>
            <a:ext cx="0" cy="533484"/>
          </a:xfrm>
          <a:prstGeom prst="line">
            <a:avLst/>
          </a:prstGeom>
          <a:noFill/>
          <a:ln w="6350">
            <a:solidFill>
              <a:schemeClr val="bg1"/>
            </a:solidFill>
            <a:prstDash val="sysDash"/>
            <a:round/>
            <a:headEnd/>
            <a:tailEnd/>
          </a:ln>
          <a:effectLst/>
        </p:spPr>
        <p:txBody>
          <a:bodyPr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400" kern="0">
              <a:solidFill>
                <a:sysClr val="windowText" lastClr="000000"/>
              </a:solidFill>
              <a:latin typeface="Arial" pitchFamily="34" charset="0"/>
              <a:ea typeface="ＭＳ Ｐゴシック" pitchFamily="-65" charset="-128"/>
              <a:cs typeface="ＭＳ Ｐゴシック" pitchFamily="-65" charset="-128"/>
            </a:endParaRPr>
          </a:p>
        </p:txBody>
      </p:sp>
      <p:sp>
        <p:nvSpPr>
          <p:cNvPr id="75" name="Line 33"/>
          <p:cNvSpPr>
            <a:spLocks noChangeShapeType="1"/>
          </p:cNvSpPr>
          <p:nvPr/>
        </p:nvSpPr>
        <p:spPr bwMode="auto">
          <a:xfrm flipH="1">
            <a:off x="6613455" y="2591791"/>
            <a:ext cx="0" cy="533484"/>
          </a:xfrm>
          <a:prstGeom prst="line">
            <a:avLst/>
          </a:prstGeom>
          <a:noFill/>
          <a:ln w="6350">
            <a:solidFill>
              <a:schemeClr val="bg1"/>
            </a:solidFill>
            <a:prstDash val="sysDash"/>
            <a:round/>
            <a:headEnd/>
            <a:tailEnd/>
          </a:ln>
          <a:effectLst/>
        </p:spPr>
        <p:txBody>
          <a:bodyPr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400" kern="0">
              <a:solidFill>
                <a:sysClr val="windowText" lastClr="000000"/>
              </a:solidFill>
              <a:latin typeface="Arial" pitchFamily="34" charset="0"/>
              <a:ea typeface="ＭＳ Ｐゴシック" pitchFamily="-65" charset="-128"/>
              <a:cs typeface="ＭＳ Ｐゴシック" pitchFamily="-65" charset="-128"/>
            </a:endParaRPr>
          </a:p>
        </p:txBody>
      </p:sp>
      <p:sp>
        <p:nvSpPr>
          <p:cNvPr id="76" name="Line 33"/>
          <p:cNvSpPr>
            <a:spLocks noChangeShapeType="1"/>
          </p:cNvSpPr>
          <p:nvPr/>
        </p:nvSpPr>
        <p:spPr bwMode="auto">
          <a:xfrm flipH="1">
            <a:off x="2419034" y="4190955"/>
            <a:ext cx="0" cy="533484"/>
          </a:xfrm>
          <a:prstGeom prst="line">
            <a:avLst/>
          </a:prstGeom>
          <a:noFill/>
          <a:ln w="6350">
            <a:solidFill>
              <a:schemeClr val="bg1"/>
            </a:solidFill>
            <a:prstDash val="sysDash"/>
            <a:round/>
            <a:headEnd/>
            <a:tailEnd/>
          </a:ln>
          <a:effectLst/>
        </p:spPr>
        <p:txBody>
          <a:bodyPr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400" kern="0">
              <a:solidFill>
                <a:sysClr val="windowText" lastClr="000000"/>
              </a:solidFill>
              <a:latin typeface="Arial" pitchFamily="34" charset="0"/>
              <a:ea typeface="ＭＳ Ｐゴシック" pitchFamily="-65" charset="-128"/>
              <a:cs typeface="ＭＳ Ｐゴシック" pitchFamily="-65" charset="-128"/>
            </a:endParaRPr>
          </a:p>
        </p:txBody>
      </p:sp>
      <p:sp>
        <p:nvSpPr>
          <p:cNvPr id="77" name="Line 33"/>
          <p:cNvSpPr>
            <a:spLocks noChangeShapeType="1"/>
          </p:cNvSpPr>
          <p:nvPr/>
        </p:nvSpPr>
        <p:spPr bwMode="auto">
          <a:xfrm flipH="1">
            <a:off x="4582608" y="4190955"/>
            <a:ext cx="0" cy="533484"/>
          </a:xfrm>
          <a:prstGeom prst="line">
            <a:avLst/>
          </a:prstGeom>
          <a:noFill/>
          <a:ln w="6350">
            <a:solidFill>
              <a:schemeClr val="bg1"/>
            </a:solidFill>
            <a:prstDash val="sysDash"/>
            <a:round/>
            <a:headEnd/>
            <a:tailEnd/>
          </a:ln>
          <a:effectLst/>
        </p:spPr>
        <p:txBody>
          <a:bodyPr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400" kern="0">
              <a:solidFill>
                <a:sysClr val="windowText" lastClr="000000"/>
              </a:solidFill>
              <a:latin typeface="Arial" pitchFamily="34" charset="0"/>
              <a:ea typeface="ＭＳ Ｐゴシック" pitchFamily="-65" charset="-128"/>
              <a:cs typeface="ＭＳ Ｐゴシック" pitchFamily="-65" charset="-128"/>
            </a:endParaRPr>
          </a:p>
        </p:txBody>
      </p:sp>
      <p:sp>
        <p:nvSpPr>
          <p:cNvPr id="78" name="Line 33"/>
          <p:cNvSpPr>
            <a:spLocks noChangeShapeType="1"/>
          </p:cNvSpPr>
          <p:nvPr/>
        </p:nvSpPr>
        <p:spPr bwMode="auto">
          <a:xfrm flipH="1">
            <a:off x="6613455" y="4190955"/>
            <a:ext cx="0" cy="533484"/>
          </a:xfrm>
          <a:prstGeom prst="line">
            <a:avLst/>
          </a:prstGeom>
          <a:noFill/>
          <a:ln w="6350">
            <a:solidFill>
              <a:schemeClr val="bg1"/>
            </a:solidFill>
            <a:prstDash val="sysDash"/>
            <a:round/>
            <a:headEnd/>
            <a:tailEnd/>
          </a:ln>
          <a:effectLst/>
        </p:spPr>
        <p:txBody>
          <a:bodyPr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400" kern="0">
              <a:solidFill>
                <a:sysClr val="windowText" lastClr="000000"/>
              </a:solidFill>
              <a:latin typeface="Arial" pitchFamily="34" charset="0"/>
              <a:ea typeface="ＭＳ Ｐゴシック" pitchFamily="-65" charset="-128"/>
              <a:cs typeface="ＭＳ Ｐゴシック" pitchFamily="-65" charset="-128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33619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4378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Replace this text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5</a:t>
            </a:fld>
            <a:r>
              <a:rPr lang="en-US" dirty="0" smtClean="0"/>
              <a:t> I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404717"/>
            <a:ext cx="7886700" cy="461665"/>
          </a:xfrm>
        </p:spPr>
        <p:txBody>
          <a:bodyPr/>
          <a:lstStyle/>
          <a:p>
            <a:r>
              <a:rPr lang="en-US" dirty="0"/>
              <a:t>BUSINESS PLAN</a:t>
            </a:r>
            <a:endParaRPr lang="en-US" dirty="0">
              <a:latin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  <p:sp>
        <p:nvSpPr>
          <p:cNvPr id="49" name="Ellipse 44"/>
          <p:cNvSpPr/>
          <p:nvPr/>
        </p:nvSpPr>
        <p:spPr bwMode="auto">
          <a:xfrm>
            <a:off x="3776726" y="3180351"/>
            <a:ext cx="1606364" cy="1605001"/>
          </a:xfrm>
          <a:prstGeom prst="ellipse">
            <a:avLst/>
          </a:prstGeom>
          <a:solidFill>
            <a:srgbClr val="2A9B18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400" u="sng">
              <a:solidFill>
                <a:srgbClr val="FFFFFF"/>
              </a:solidFill>
              <a:latin typeface="Calibri" pitchFamily="-105" charset="0"/>
              <a:ea typeface="+mn-ea"/>
            </a:endParaRPr>
          </a:p>
        </p:txBody>
      </p:sp>
      <p:sp>
        <p:nvSpPr>
          <p:cNvPr id="50" name="TextBox 24"/>
          <p:cNvSpPr txBox="1">
            <a:spLocks noChangeArrowheads="1"/>
          </p:cNvSpPr>
          <p:nvPr/>
        </p:nvSpPr>
        <p:spPr bwMode="auto">
          <a:xfrm>
            <a:off x="3781770" y="3709345"/>
            <a:ext cx="1609910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eaLnBrk="1" hangingPunct="1"/>
            <a:r>
              <a:rPr lang="en-US" sz="1600" dirty="0">
                <a:solidFill>
                  <a:schemeClr val="bg1"/>
                </a:solidFill>
                <a:latin typeface="Calibri" charset="0"/>
              </a:rPr>
              <a:t>Business Plan</a:t>
            </a:r>
          </a:p>
          <a:p>
            <a:pPr algn="ctr" eaLnBrk="1" hangingPunct="1"/>
            <a:r>
              <a:rPr lang="en-US" sz="1600" dirty="0">
                <a:solidFill>
                  <a:schemeClr val="bg1"/>
                </a:solidFill>
                <a:latin typeface="Calibri" charset="0"/>
              </a:rPr>
              <a:t>highlights</a:t>
            </a:r>
          </a:p>
        </p:txBody>
      </p:sp>
      <p:sp>
        <p:nvSpPr>
          <p:cNvPr id="51" name="Ellipse 44"/>
          <p:cNvSpPr/>
          <p:nvPr/>
        </p:nvSpPr>
        <p:spPr bwMode="auto">
          <a:xfrm flipH="1">
            <a:off x="2315000" y="2832337"/>
            <a:ext cx="1168927" cy="1170620"/>
          </a:xfrm>
          <a:prstGeom prst="ellipse">
            <a:avLst/>
          </a:prstGeom>
          <a:solidFill>
            <a:srgbClr val="D5D5D5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anchor="ctr"/>
          <a:lstStyle/>
          <a:p>
            <a:pPr algn="ctr"/>
            <a:endParaRPr lang="da-DK" sz="1400" u="sng">
              <a:solidFill>
                <a:srgbClr val="FFFFFF"/>
              </a:solidFill>
              <a:latin typeface="Calibri" pitchFamily="-105" charset="0"/>
            </a:endParaRPr>
          </a:p>
        </p:txBody>
      </p:sp>
      <p:sp>
        <p:nvSpPr>
          <p:cNvPr id="52" name="Ellipse 44"/>
          <p:cNvSpPr/>
          <p:nvPr/>
        </p:nvSpPr>
        <p:spPr bwMode="auto">
          <a:xfrm flipH="1">
            <a:off x="2764106" y="4658210"/>
            <a:ext cx="1168927" cy="1170620"/>
          </a:xfrm>
          <a:prstGeom prst="ellipse">
            <a:avLst/>
          </a:prstGeom>
          <a:solidFill>
            <a:srgbClr val="D5D5D5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anchor="ctr"/>
          <a:lstStyle/>
          <a:p>
            <a:pPr algn="ctr"/>
            <a:endParaRPr lang="da-DK" sz="1400" u="sng">
              <a:solidFill>
                <a:srgbClr val="FFFFFF"/>
              </a:solidFill>
              <a:latin typeface="Calibri" pitchFamily="-105" charset="0"/>
            </a:endParaRPr>
          </a:p>
        </p:txBody>
      </p:sp>
      <p:sp>
        <p:nvSpPr>
          <p:cNvPr id="55" name="Ellipse 44"/>
          <p:cNvSpPr/>
          <p:nvPr/>
        </p:nvSpPr>
        <p:spPr bwMode="auto">
          <a:xfrm flipH="1">
            <a:off x="5236644" y="4656986"/>
            <a:ext cx="1170142" cy="1170620"/>
          </a:xfrm>
          <a:prstGeom prst="ellipse">
            <a:avLst/>
          </a:prstGeom>
          <a:solidFill>
            <a:srgbClr val="D5D5D5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anchor="ctr"/>
          <a:lstStyle/>
          <a:p>
            <a:pPr algn="ctr"/>
            <a:endParaRPr lang="da-DK" sz="1400" u="sng">
              <a:solidFill>
                <a:srgbClr val="FFFFFF"/>
              </a:solidFill>
              <a:latin typeface="Calibri" pitchFamily="-105" charset="0"/>
            </a:endParaRPr>
          </a:p>
        </p:txBody>
      </p:sp>
      <p:sp>
        <p:nvSpPr>
          <p:cNvPr id="63" name="Ellipse 44"/>
          <p:cNvSpPr/>
          <p:nvPr/>
        </p:nvSpPr>
        <p:spPr bwMode="auto">
          <a:xfrm flipH="1">
            <a:off x="5648938" y="2831113"/>
            <a:ext cx="1170142" cy="1170620"/>
          </a:xfrm>
          <a:prstGeom prst="ellipse">
            <a:avLst/>
          </a:prstGeom>
          <a:solidFill>
            <a:srgbClr val="D5D5D5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anchor="ctr"/>
          <a:lstStyle/>
          <a:p>
            <a:pPr algn="ctr"/>
            <a:endParaRPr lang="da-DK" sz="1400" u="sng">
              <a:solidFill>
                <a:srgbClr val="FFFFFF"/>
              </a:solidFill>
              <a:latin typeface="Calibri" pitchFamily="-105" charset="0"/>
            </a:endParaRPr>
          </a:p>
        </p:txBody>
      </p:sp>
      <p:sp>
        <p:nvSpPr>
          <p:cNvPr id="66" name="Ellipse 44"/>
          <p:cNvSpPr/>
          <p:nvPr/>
        </p:nvSpPr>
        <p:spPr bwMode="auto">
          <a:xfrm flipH="1">
            <a:off x="3955586" y="1653132"/>
            <a:ext cx="1170142" cy="1170620"/>
          </a:xfrm>
          <a:prstGeom prst="ellipse">
            <a:avLst/>
          </a:prstGeom>
          <a:solidFill>
            <a:srgbClr val="D5D5D5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400" u="sng">
              <a:solidFill>
                <a:srgbClr val="FFFFFF"/>
              </a:solidFill>
              <a:latin typeface="Calibri" pitchFamily="-105" charset="0"/>
              <a:ea typeface="+mn-ea"/>
            </a:endParaRPr>
          </a:p>
        </p:txBody>
      </p:sp>
      <p:sp>
        <p:nvSpPr>
          <p:cNvPr id="68" name="Rektangel 76"/>
          <p:cNvSpPr>
            <a:spLocks noChangeArrowheads="1"/>
          </p:cNvSpPr>
          <p:nvPr/>
        </p:nvSpPr>
        <p:spPr bwMode="auto">
          <a:xfrm>
            <a:off x="2776804" y="4872053"/>
            <a:ext cx="1119083" cy="7617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algn="ctr" defTabSz="914400"/>
            <a:r>
              <a:rPr lang="en-US" sz="1200" b="1" noProof="1">
                <a:solidFill>
                  <a:srgbClr val="1E1C11"/>
                </a:solidFill>
                <a:latin typeface="Calibri" charset="0"/>
                <a:cs typeface="Arial" charset="0"/>
              </a:rPr>
              <a:t>Example text</a:t>
            </a:r>
          </a:p>
          <a:p>
            <a:pPr algn="ctr" defTabSz="914400"/>
            <a:r>
              <a:rPr lang="en-US" sz="1050" noProof="1">
                <a:latin typeface="Calibri" charset="0"/>
                <a:cs typeface="Arial" charset="0"/>
              </a:rPr>
              <a:t>Go ahead and replace it with your own text</a:t>
            </a:r>
            <a:r>
              <a:rPr lang="en-US" sz="1050" noProof="1" smtClean="0">
                <a:latin typeface="Calibri" charset="0"/>
                <a:cs typeface="Arial" charset="0"/>
              </a:rPr>
              <a:t>.</a:t>
            </a:r>
            <a:endParaRPr lang="da-DK" sz="1400" dirty="0">
              <a:solidFill>
                <a:srgbClr val="1E1C11"/>
              </a:solidFill>
              <a:latin typeface="Calibri" charset="0"/>
            </a:endParaRPr>
          </a:p>
        </p:txBody>
      </p:sp>
      <p:sp>
        <p:nvSpPr>
          <p:cNvPr id="70" name="Right Arrow 69"/>
          <p:cNvSpPr>
            <a:spLocks noChangeArrowheads="1"/>
          </p:cNvSpPr>
          <p:nvPr/>
        </p:nvSpPr>
        <p:spPr bwMode="auto">
          <a:xfrm rot="2490468">
            <a:off x="5111909" y="4587795"/>
            <a:ext cx="288361" cy="277317"/>
          </a:xfrm>
          <a:prstGeom prst="rightArrow">
            <a:avLst>
              <a:gd name="adj1" fmla="val 50000"/>
              <a:gd name="adj2" fmla="val 49998"/>
            </a:avLst>
          </a:prstGeom>
          <a:solidFill>
            <a:srgbClr val="7F7F7F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endParaRPr lang="en-US" sz="1400">
              <a:solidFill>
                <a:srgbClr val="FFFFFF"/>
              </a:solidFill>
              <a:ea typeface="ＭＳ Ｐゴシック" pitchFamily="-105" charset="-128"/>
              <a:cs typeface="ＭＳ Ｐゴシック" pitchFamily="-105" charset="-128"/>
            </a:endParaRPr>
          </a:p>
        </p:txBody>
      </p:sp>
      <p:sp>
        <p:nvSpPr>
          <p:cNvPr id="73" name="Right Arrow 72"/>
          <p:cNvSpPr>
            <a:spLocks noChangeArrowheads="1"/>
          </p:cNvSpPr>
          <p:nvPr/>
        </p:nvSpPr>
        <p:spPr bwMode="auto">
          <a:xfrm rot="16200000">
            <a:off x="4406960" y="2894028"/>
            <a:ext cx="288361" cy="277317"/>
          </a:xfrm>
          <a:prstGeom prst="rightArrow">
            <a:avLst>
              <a:gd name="adj1" fmla="val 50000"/>
              <a:gd name="adj2" fmla="val 49998"/>
            </a:avLst>
          </a:prstGeom>
          <a:solidFill>
            <a:srgbClr val="7F7F7F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>
              <a:solidFill>
                <a:srgbClr val="FFFFFF"/>
              </a:solidFill>
              <a:latin typeface="+mn-lt"/>
              <a:ea typeface="ＭＳ Ｐゴシック" pitchFamily="-105" charset="-128"/>
              <a:cs typeface="ＭＳ Ｐゴシック" pitchFamily="-105" charset="-128"/>
            </a:endParaRPr>
          </a:p>
        </p:txBody>
      </p:sp>
      <p:sp>
        <p:nvSpPr>
          <p:cNvPr id="74" name="Right Arrow 73"/>
          <p:cNvSpPr>
            <a:spLocks noChangeArrowheads="1"/>
          </p:cNvSpPr>
          <p:nvPr/>
        </p:nvSpPr>
        <p:spPr bwMode="auto">
          <a:xfrm rot="19983211">
            <a:off x="5356095" y="3513083"/>
            <a:ext cx="288360" cy="277317"/>
          </a:xfrm>
          <a:prstGeom prst="rightArrow">
            <a:avLst>
              <a:gd name="adj1" fmla="val 50000"/>
              <a:gd name="adj2" fmla="val 49998"/>
            </a:avLst>
          </a:prstGeom>
          <a:solidFill>
            <a:srgbClr val="7F7F7F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endParaRPr lang="en-US" sz="1400">
              <a:solidFill>
                <a:srgbClr val="FFFFFF"/>
              </a:solidFill>
              <a:ea typeface="ＭＳ Ｐゴシック" pitchFamily="-105" charset="-128"/>
              <a:cs typeface="ＭＳ Ｐゴシック" pitchFamily="-105" charset="-128"/>
            </a:endParaRPr>
          </a:p>
        </p:txBody>
      </p:sp>
      <p:sp>
        <p:nvSpPr>
          <p:cNvPr id="75" name="Right Arrow 74"/>
          <p:cNvSpPr>
            <a:spLocks noChangeArrowheads="1"/>
          </p:cNvSpPr>
          <p:nvPr/>
        </p:nvSpPr>
        <p:spPr bwMode="auto">
          <a:xfrm rot="12552318">
            <a:off x="3527768" y="3471362"/>
            <a:ext cx="288360" cy="277317"/>
          </a:xfrm>
          <a:prstGeom prst="rightArrow">
            <a:avLst>
              <a:gd name="adj1" fmla="val 50000"/>
              <a:gd name="adj2" fmla="val 49998"/>
            </a:avLst>
          </a:prstGeom>
          <a:solidFill>
            <a:srgbClr val="7F7F7F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endParaRPr lang="en-US" sz="1400">
              <a:solidFill>
                <a:srgbClr val="FFFFFF"/>
              </a:solidFill>
              <a:ea typeface="ＭＳ Ｐゴシック" pitchFamily="-105" charset="-128"/>
              <a:cs typeface="ＭＳ Ｐゴシック" pitchFamily="-105" charset="-128"/>
            </a:endParaRPr>
          </a:p>
        </p:txBody>
      </p:sp>
      <p:sp>
        <p:nvSpPr>
          <p:cNvPr id="76" name="Right Arrow 75"/>
          <p:cNvSpPr>
            <a:spLocks noChangeArrowheads="1"/>
          </p:cNvSpPr>
          <p:nvPr/>
        </p:nvSpPr>
        <p:spPr bwMode="auto">
          <a:xfrm rot="19109532" flipH="1">
            <a:off x="3743731" y="4579402"/>
            <a:ext cx="288360" cy="277317"/>
          </a:xfrm>
          <a:prstGeom prst="rightArrow">
            <a:avLst>
              <a:gd name="adj1" fmla="val 50000"/>
              <a:gd name="adj2" fmla="val 49998"/>
            </a:avLst>
          </a:prstGeom>
          <a:solidFill>
            <a:srgbClr val="7F7F7F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endParaRPr lang="en-US" sz="1400">
              <a:solidFill>
                <a:srgbClr val="FFFFFF"/>
              </a:solidFill>
              <a:ea typeface="ＭＳ Ｐゴシック" pitchFamily="-105" charset="-128"/>
              <a:cs typeface="ＭＳ Ｐゴシック" pitchFamily="-105" charset="-128"/>
            </a:endParaRPr>
          </a:p>
        </p:txBody>
      </p:sp>
      <p:sp>
        <p:nvSpPr>
          <p:cNvPr id="77" name="Rektangel 76"/>
          <p:cNvSpPr>
            <a:spLocks noChangeArrowheads="1"/>
          </p:cNvSpPr>
          <p:nvPr/>
        </p:nvSpPr>
        <p:spPr bwMode="auto">
          <a:xfrm>
            <a:off x="2335060" y="3023970"/>
            <a:ext cx="1119083" cy="7617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algn="ctr" defTabSz="914400"/>
            <a:r>
              <a:rPr lang="en-US" sz="1200" b="1" noProof="1">
                <a:solidFill>
                  <a:srgbClr val="1E1C11"/>
                </a:solidFill>
                <a:latin typeface="Calibri" charset="0"/>
                <a:cs typeface="Arial" charset="0"/>
              </a:rPr>
              <a:t>Example text</a:t>
            </a:r>
          </a:p>
          <a:p>
            <a:pPr algn="ctr" defTabSz="914400"/>
            <a:r>
              <a:rPr lang="en-US" sz="1050" noProof="1">
                <a:latin typeface="Calibri" charset="0"/>
                <a:cs typeface="Arial" charset="0"/>
              </a:rPr>
              <a:t>Go ahead and replace it with your own text</a:t>
            </a:r>
            <a:r>
              <a:rPr lang="en-US" sz="1050" noProof="1" smtClean="0">
                <a:latin typeface="Calibri" charset="0"/>
                <a:cs typeface="Arial" charset="0"/>
              </a:rPr>
              <a:t>.</a:t>
            </a:r>
            <a:endParaRPr lang="da-DK" sz="1400" dirty="0">
              <a:solidFill>
                <a:srgbClr val="1E1C11"/>
              </a:solidFill>
              <a:latin typeface="Calibri" charset="0"/>
            </a:endParaRPr>
          </a:p>
        </p:txBody>
      </p:sp>
      <p:sp>
        <p:nvSpPr>
          <p:cNvPr id="78" name="Rektangel 76"/>
          <p:cNvSpPr>
            <a:spLocks noChangeArrowheads="1"/>
          </p:cNvSpPr>
          <p:nvPr/>
        </p:nvSpPr>
        <p:spPr bwMode="auto">
          <a:xfrm>
            <a:off x="3983009" y="1852245"/>
            <a:ext cx="1119083" cy="7617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algn="ctr" defTabSz="914400"/>
            <a:r>
              <a:rPr lang="en-US" sz="1200" b="1" noProof="1">
                <a:solidFill>
                  <a:srgbClr val="1E1C11"/>
                </a:solidFill>
                <a:latin typeface="Calibri" charset="0"/>
                <a:cs typeface="Arial" charset="0"/>
              </a:rPr>
              <a:t>Example text</a:t>
            </a:r>
          </a:p>
          <a:p>
            <a:pPr algn="ctr" defTabSz="914400"/>
            <a:r>
              <a:rPr lang="en-US" sz="1050" noProof="1">
                <a:latin typeface="Calibri" charset="0"/>
                <a:cs typeface="Arial" charset="0"/>
              </a:rPr>
              <a:t>Go ahead and replace it with your own text</a:t>
            </a:r>
            <a:r>
              <a:rPr lang="en-US" sz="1050" noProof="1" smtClean="0">
                <a:latin typeface="Calibri" charset="0"/>
                <a:cs typeface="Arial" charset="0"/>
              </a:rPr>
              <a:t>.</a:t>
            </a:r>
            <a:endParaRPr lang="da-DK" sz="1400" dirty="0">
              <a:solidFill>
                <a:srgbClr val="1E1C11"/>
              </a:solidFill>
              <a:latin typeface="Calibri" charset="0"/>
            </a:endParaRPr>
          </a:p>
        </p:txBody>
      </p:sp>
      <p:sp>
        <p:nvSpPr>
          <p:cNvPr id="79" name="Rektangel 76"/>
          <p:cNvSpPr>
            <a:spLocks noChangeArrowheads="1"/>
          </p:cNvSpPr>
          <p:nvPr/>
        </p:nvSpPr>
        <p:spPr bwMode="auto">
          <a:xfrm>
            <a:off x="5671450" y="3065261"/>
            <a:ext cx="1119083" cy="7617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algn="ctr" defTabSz="914400"/>
            <a:r>
              <a:rPr lang="en-US" sz="1200" b="1" noProof="1">
                <a:solidFill>
                  <a:srgbClr val="1E1C11"/>
                </a:solidFill>
                <a:latin typeface="Calibri" charset="0"/>
                <a:cs typeface="Arial" charset="0"/>
              </a:rPr>
              <a:t>Example text</a:t>
            </a:r>
          </a:p>
          <a:p>
            <a:pPr algn="ctr" defTabSz="914400"/>
            <a:r>
              <a:rPr lang="en-US" sz="1050" noProof="1">
                <a:latin typeface="Calibri" charset="0"/>
                <a:cs typeface="Arial" charset="0"/>
              </a:rPr>
              <a:t>Go ahead and replace it with your own text</a:t>
            </a:r>
            <a:r>
              <a:rPr lang="en-US" sz="1050" noProof="1" smtClean="0">
                <a:latin typeface="Calibri" charset="0"/>
                <a:cs typeface="Arial" charset="0"/>
              </a:rPr>
              <a:t>.</a:t>
            </a:r>
            <a:endParaRPr lang="da-DK" sz="1400" dirty="0">
              <a:solidFill>
                <a:srgbClr val="1E1C11"/>
              </a:solidFill>
              <a:latin typeface="Calibri" charset="0"/>
            </a:endParaRPr>
          </a:p>
        </p:txBody>
      </p:sp>
      <p:sp>
        <p:nvSpPr>
          <p:cNvPr id="80" name="Rektangel 76"/>
          <p:cNvSpPr>
            <a:spLocks noChangeArrowheads="1"/>
          </p:cNvSpPr>
          <p:nvPr/>
        </p:nvSpPr>
        <p:spPr bwMode="auto">
          <a:xfrm>
            <a:off x="5264065" y="4884753"/>
            <a:ext cx="1119083" cy="7617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algn="ctr" defTabSz="914400"/>
            <a:r>
              <a:rPr lang="en-US" sz="1200" b="1" noProof="1">
                <a:solidFill>
                  <a:srgbClr val="1E1C11"/>
                </a:solidFill>
                <a:latin typeface="Calibri" charset="0"/>
                <a:cs typeface="Arial" charset="0"/>
              </a:rPr>
              <a:t>Example text</a:t>
            </a:r>
          </a:p>
          <a:p>
            <a:pPr algn="ctr" defTabSz="914400"/>
            <a:r>
              <a:rPr lang="en-US" sz="1050" noProof="1">
                <a:latin typeface="Calibri" charset="0"/>
                <a:cs typeface="Arial" charset="0"/>
              </a:rPr>
              <a:t>Go ahead and replace it with your own text</a:t>
            </a:r>
            <a:r>
              <a:rPr lang="en-US" sz="1050" noProof="1" smtClean="0">
                <a:latin typeface="Calibri" charset="0"/>
                <a:cs typeface="Arial" charset="0"/>
              </a:rPr>
              <a:t>.</a:t>
            </a:r>
            <a:endParaRPr lang="da-DK" sz="1400" dirty="0">
              <a:solidFill>
                <a:srgbClr val="1E1C11"/>
              </a:solidFill>
              <a:latin typeface="Calibri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84417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8" name="Straight Connector 67"/>
          <p:cNvCxnSpPr/>
          <p:nvPr/>
        </p:nvCxnSpPr>
        <p:spPr>
          <a:xfrm>
            <a:off x="3606800" y="3684261"/>
            <a:ext cx="1854200" cy="0"/>
          </a:xfrm>
          <a:prstGeom prst="line">
            <a:avLst/>
          </a:prstGeom>
          <a:ln w="12700">
            <a:solidFill>
              <a:srgbClr val="2A9B1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4378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Replace this text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6</a:t>
            </a:fld>
            <a:r>
              <a:rPr lang="en-US" dirty="0" smtClean="0"/>
              <a:t> I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404717"/>
            <a:ext cx="7886700" cy="461665"/>
          </a:xfrm>
        </p:spPr>
        <p:txBody>
          <a:bodyPr/>
          <a:lstStyle/>
          <a:p>
            <a:r>
              <a:rPr lang="en-US" dirty="0"/>
              <a:t>BUSINESS PLAN</a:t>
            </a:r>
            <a:endParaRPr lang="en-US" dirty="0">
              <a:latin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  <p:sp>
        <p:nvSpPr>
          <p:cNvPr id="61" name="Oval 60"/>
          <p:cNvSpPr/>
          <p:nvPr/>
        </p:nvSpPr>
        <p:spPr>
          <a:xfrm>
            <a:off x="431801" y="1524001"/>
            <a:ext cx="1862666" cy="1862666"/>
          </a:xfrm>
          <a:prstGeom prst="ellipse">
            <a:avLst/>
          </a:prstGeom>
          <a:solidFill>
            <a:srgbClr val="D5D5D5"/>
          </a:solidFill>
          <a:ln w="3175">
            <a:noFill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Oval 61"/>
          <p:cNvSpPr/>
          <p:nvPr/>
        </p:nvSpPr>
        <p:spPr>
          <a:xfrm>
            <a:off x="431801" y="3962400"/>
            <a:ext cx="1862666" cy="1862666"/>
          </a:xfrm>
          <a:prstGeom prst="ellipse">
            <a:avLst/>
          </a:prstGeom>
          <a:solidFill>
            <a:srgbClr val="D5D5D5"/>
          </a:solidFill>
          <a:ln w="3175">
            <a:noFill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Oval 62"/>
          <p:cNvSpPr/>
          <p:nvPr/>
        </p:nvSpPr>
        <p:spPr>
          <a:xfrm>
            <a:off x="2108200" y="2743201"/>
            <a:ext cx="1862666" cy="1862666"/>
          </a:xfrm>
          <a:prstGeom prst="ellipse">
            <a:avLst/>
          </a:prstGeom>
          <a:solidFill>
            <a:srgbClr val="2A9B18"/>
          </a:solidFill>
          <a:ln w="3175">
            <a:noFill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5" name="Straight Arrow Connector 64"/>
          <p:cNvCxnSpPr/>
          <p:nvPr/>
        </p:nvCxnSpPr>
        <p:spPr>
          <a:xfrm>
            <a:off x="2294467" y="2455334"/>
            <a:ext cx="3488266" cy="0"/>
          </a:xfrm>
          <a:prstGeom prst="straightConnector1">
            <a:avLst/>
          </a:prstGeom>
          <a:ln w="12700">
            <a:solidFill>
              <a:srgbClr val="0D65AC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/>
          <p:cNvCxnSpPr/>
          <p:nvPr/>
        </p:nvCxnSpPr>
        <p:spPr>
          <a:xfrm>
            <a:off x="2294467" y="4893733"/>
            <a:ext cx="3488266" cy="0"/>
          </a:xfrm>
          <a:prstGeom prst="straightConnector1">
            <a:avLst/>
          </a:prstGeom>
          <a:ln w="12700">
            <a:solidFill>
              <a:srgbClr val="0D65AC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Oval 2"/>
          <p:cNvSpPr/>
          <p:nvPr/>
        </p:nvSpPr>
        <p:spPr>
          <a:xfrm>
            <a:off x="4969933" y="1849146"/>
            <a:ext cx="3665149" cy="3665149"/>
          </a:xfrm>
          <a:prstGeom prst="ellipse">
            <a:avLst/>
          </a:prstGeom>
          <a:solidFill>
            <a:srgbClr val="D5D5D5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5" name="Group 24"/>
          <p:cNvGrpSpPr/>
          <p:nvPr/>
        </p:nvGrpSpPr>
        <p:grpSpPr>
          <a:xfrm>
            <a:off x="6415632" y="4650370"/>
            <a:ext cx="790199" cy="567011"/>
            <a:chOff x="1492250" y="4173538"/>
            <a:chExt cx="831850" cy="596900"/>
          </a:xfrm>
          <a:solidFill>
            <a:srgbClr val="0D65AC"/>
          </a:solidFill>
          <a:effectLst/>
        </p:grpSpPr>
        <p:sp>
          <p:nvSpPr>
            <p:cNvPr id="26" name="Freeform 61"/>
            <p:cNvSpPr>
              <a:spLocks noEditPoints="1"/>
            </p:cNvSpPr>
            <p:nvPr/>
          </p:nvSpPr>
          <p:spPr bwMode="auto">
            <a:xfrm>
              <a:off x="1492250" y="4422775"/>
              <a:ext cx="147638" cy="314325"/>
            </a:xfrm>
            <a:custGeom>
              <a:avLst/>
              <a:gdLst>
                <a:gd name="T0" fmla="*/ 0 w 186"/>
                <a:gd name="T1" fmla="*/ 0 h 397"/>
                <a:gd name="T2" fmla="*/ 0 w 186"/>
                <a:gd name="T3" fmla="*/ 333 h 397"/>
                <a:gd name="T4" fmla="*/ 186 w 186"/>
                <a:gd name="T5" fmla="*/ 397 h 397"/>
                <a:gd name="T6" fmla="*/ 186 w 186"/>
                <a:gd name="T7" fmla="*/ 28 h 397"/>
                <a:gd name="T8" fmla="*/ 0 w 186"/>
                <a:gd name="T9" fmla="*/ 0 h 397"/>
                <a:gd name="T10" fmla="*/ 162 w 186"/>
                <a:gd name="T11" fmla="*/ 373 h 397"/>
                <a:gd name="T12" fmla="*/ 8 w 186"/>
                <a:gd name="T13" fmla="*/ 318 h 397"/>
                <a:gd name="T14" fmla="*/ 8 w 186"/>
                <a:gd name="T15" fmla="*/ 28 h 397"/>
                <a:gd name="T16" fmla="*/ 162 w 186"/>
                <a:gd name="T17" fmla="*/ 52 h 397"/>
                <a:gd name="T18" fmla="*/ 162 w 186"/>
                <a:gd name="T19" fmla="*/ 373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6" h="397">
                  <a:moveTo>
                    <a:pt x="0" y="0"/>
                  </a:moveTo>
                  <a:lnTo>
                    <a:pt x="0" y="333"/>
                  </a:lnTo>
                  <a:lnTo>
                    <a:pt x="186" y="397"/>
                  </a:lnTo>
                  <a:lnTo>
                    <a:pt x="186" y="28"/>
                  </a:lnTo>
                  <a:lnTo>
                    <a:pt x="0" y="0"/>
                  </a:lnTo>
                  <a:close/>
                  <a:moveTo>
                    <a:pt x="162" y="373"/>
                  </a:moveTo>
                  <a:lnTo>
                    <a:pt x="8" y="318"/>
                  </a:lnTo>
                  <a:lnTo>
                    <a:pt x="8" y="28"/>
                  </a:lnTo>
                  <a:lnTo>
                    <a:pt x="162" y="52"/>
                  </a:lnTo>
                  <a:lnTo>
                    <a:pt x="162" y="3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62"/>
            <p:cNvSpPr>
              <a:spLocks noEditPoints="1"/>
            </p:cNvSpPr>
            <p:nvPr/>
          </p:nvSpPr>
          <p:spPr bwMode="auto">
            <a:xfrm>
              <a:off x="1646238" y="4438650"/>
              <a:ext cx="242888" cy="298450"/>
            </a:xfrm>
            <a:custGeom>
              <a:avLst/>
              <a:gdLst>
                <a:gd name="T0" fmla="*/ 0 w 305"/>
                <a:gd name="T1" fmla="*/ 8 h 377"/>
                <a:gd name="T2" fmla="*/ 0 w 305"/>
                <a:gd name="T3" fmla="*/ 377 h 377"/>
                <a:gd name="T4" fmla="*/ 305 w 305"/>
                <a:gd name="T5" fmla="*/ 353 h 377"/>
                <a:gd name="T6" fmla="*/ 305 w 305"/>
                <a:gd name="T7" fmla="*/ 0 h 377"/>
                <a:gd name="T8" fmla="*/ 0 w 305"/>
                <a:gd name="T9" fmla="*/ 8 h 377"/>
                <a:gd name="T10" fmla="*/ 282 w 305"/>
                <a:gd name="T11" fmla="*/ 329 h 377"/>
                <a:gd name="T12" fmla="*/ 28 w 305"/>
                <a:gd name="T13" fmla="*/ 353 h 377"/>
                <a:gd name="T14" fmla="*/ 28 w 305"/>
                <a:gd name="T15" fmla="*/ 32 h 377"/>
                <a:gd name="T16" fmla="*/ 282 w 305"/>
                <a:gd name="T17" fmla="*/ 28 h 377"/>
                <a:gd name="T18" fmla="*/ 282 w 305"/>
                <a:gd name="T19" fmla="*/ 329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5" h="377">
                  <a:moveTo>
                    <a:pt x="0" y="8"/>
                  </a:moveTo>
                  <a:lnTo>
                    <a:pt x="0" y="377"/>
                  </a:lnTo>
                  <a:lnTo>
                    <a:pt x="305" y="353"/>
                  </a:lnTo>
                  <a:lnTo>
                    <a:pt x="305" y="0"/>
                  </a:lnTo>
                  <a:lnTo>
                    <a:pt x="0" y="8"/>
                  </a:lnTo>
                  <a:close/>
                  <a:moveTo>
                    <a:pt x="282" y="329"/>
                  </a:moveTo>
                  <a:lnTo>
                    <a:pt x="28" y="353"/>
                  </a:lnTo>
                  <a:lnTo>
                    <a:pt x="28" y="32"/>
                  </a:lnTo>
                  <a:lnTo>
                    <a:pt x="282" y="28"/>
                  </a:lnTo>
                  <a:lnTo>
                    <a:pt x="282" y="3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63"/>
            <p:cNvSpPr>
              <a:spLocks/>
            </p:cNvSpPr>
            <p:nvPr/>
          </p:nvSpPr>
          <p:spPr bwMode="auto">
            <a:xfrm>
              <a:off x="1492250" y="4410075"/>
              <a:ext cx="396875" cy="31750"/>
            </a:xfrm>
            <a:custGeom>
              <a:avLst/>
              <a:gdLst>
                <a:gd name="T0" fmla="*/ 0 w 499"/>
                <a:gd name="T1" fmla="*/ 15 h 39"/>
                <a:gd name="T2" fmla="*/ 281 w 499"/>
                <a:gd name="T3" fmla="*/ 0 h 39"/>
                <a:gd name="T4" fmla="*/ 499 w 499"/>
                <a:gd name="T5" fmla="*/ 32 h 39"/>
                <a:gd name="T6" fmla="*/ 194 w 499"/>
                <a:gd name="T7" fmla="*/ 39 h 39"/>
                <a:gd name="T8" fmla="*/ 0 w 499"/>
                <a:gd name="T9" fmla="*/ 15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9" h="39">
                  <a:moveTo>
                    <a:pt x="0" y="15"/>
                  </a:moveTo>
                  <a:lnTo>
                    <a:pt x="281" y="0"/>
                  </a:lnTo>
                  <a:lnTo>
                    <a:pt x="499" y="32"/>
                  </a:lnTo>
                  <a:lnTo>
                    <a:pt x="194" y="39"/>
                  </a:lnTo>
                  <a:lnTo>
                    <a:pt x="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64"/>
            <p:cNvSpPr>
              <a:spLocks/>
            </p:cNvSpPr>
            <p:nvPr/>
          </p:nvSpPr>
          <p:spPr bwMode="auto">
            <a:xfrm>
              <a:off x="2063750" y="4481513"/>
              <a:ext cx="260350" cy="288925"/>
            </a:xfrm>
            <a:custGeom>
              <a:avLst/>
              <a:gdLst>
                <a:gd name="T0" fmla="*/ 0 w 330"/>
                <a:gd name="T1" fmla="*/ 21 h 364"/>
                <a:gd name="T2" fmla="*/ 330 w 330"/>
                <a:gd name="T3" fmla="*/ 0 h 364"/>
                <a:gd name="T4" fmla="*/ 330 w 330"/>
                <a:gd name="T5" fmla="*/ 344 h 364"/>
                <a:gd name="T6" fmla="*/ 0 w 330"/>
                <a:gd name="T7" fmla="*/ 364 h 364"/>
                <a:gd name="T8" fmla="*/ 0 w 330"/>
                <a:gd name="T9" fmla="*/ 21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0" h="364">
                  <a:moveTo>
                    <a:pt x="0" y="21"/>
                  </a:moveTo>
                  <a:lnTo>
                    <a:pt x="330" y="0"/>
                  </a:lnTo>
                  <a:lnTo>
                    <a:pt x="330" y="344"/>
                  </a:lnTo>
                  <a:lnTo>
                    <a:pt x="0" y="364"/>
                  </a:lnTo>
                  <a:lnTo>
                    <a:pt x="0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65"/>
            <p:cNvSpPr>
              <a:spLocks/>
            </p:cNvSpPr>
            <p:nvPr/>
          </p:nvSpPr>
          <p:spPr bwMode="auto">
            <a:xfrm>
              <a:off x="1900238" y="4446588"/>
              <a:ext cx="147638" cy="323850"/>
            </a:xfrm>
            <a:custGeom>
              <a:avLst/>
              <a:gdLst>
                <a:gd name="T0" fmla="*/ 186 w 186"/>
                <a:gd name="T1" fmla="*/ 65 h 408"/>
                <a:gd name="T2" fmla="*/ 0 w 186"/>
                <a:gd name="T3" fmla="*/ 0 h 408"/>
                <a:gd name="T4" fmla="*/ 0 w 186"/>
                <a:gd name="T5" fmla="*/ 343 h 408"/>
                <a:gd name="T6" fmla="*/ 186 w 186"/>
                <a:gd name="T7" fmla="*/ 408 h 408"/>
                <a:gd name="T8" fmla="*/ 186 w 186"/>
                <a:gd name="T9" fmla="*/ 65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6" h="408">
                  <a:moveTo>
                    <a:pt x="186" y="65"/>
                  </a:moveTo>
                  <a:lnTo>
                    <a:pt x="0" y="0"/>
                  </a:lnTo>
                  <a:lnTo>
                    <a:pt x="0" y="343"/>
                  </a:lnTo>
                  <a:lnTo>
                    <a:pt x="186" y="408"/>
                  </a:lnTo>
                  <a:lnTo>
                    <a:pt x="186" y="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66"/>
            <p:cNvSpPr>
              <a:spLocks/>
            </p:cNvSpPr>
            <p:nvPr/>
          </p:nvSpPr>
          <p:spPr bwMode="auto">
            <a:xfrm>
              <a:off x="2063750" y="4195763"/>
              <a:ext cx="260350" cy="287338"/>
            </a:xfrm>
            <a:custGeom>
              <a:avLst/>
              <a:gdLst>
                <a:gd name="T0" fmla="*/ 0 w 330"/>
                <a:gd name="T1" fmla="*/ 20 h 362"/>
                <a:gd name="T2" fmla="*/ 330 w 330"/>
                <a:gd name="T3" fmla="*/ 0 h 362"/>
                <a:gd name="T4" fmla="*/ 330 w 330"/>
                <a:gd name="T5" fmla="*/ 343 h 362"/>
                <a:gd name="T6" fmla="*/ 0 w 330"/>
                <a:gd name="T7" fmla="*/ 362 h 362"/>
                <a:gd name="T8" fmla="*/ 0 w 330"/>
                <a:gd name="T9" fmla="*/ 2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0" h="362">
                  <a:moveTo>
                    <a:pt x="0" y="20"/>
                  </a:moveTo>
                  <a:lnTo>
                    <a:pt x="330" y="0"/>
                  </a:lnTo>
                  <a:lnTo>
                    <a:pt x="330" y="343"/>
                  </a:lnTo>
                  <a:lnTo>
                    <a:pt x="0" y="362"/>
                  </a:lnTo>
                  <a:lnTo>
                    <a:pt x="0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67"/>
            <p:cNvSpPr>
              <a:spLocks/>
            </p:cNvSpPr>
            <p:nvPr/>
          </p:nvSpPr>
          <p:spPr bwMode="auto">
            <a:xfrm>
              <a:off x="1900238" y="4183063"/>
              <a:ext cx="147638" cy="300038"/>
            </a:xfrm>
            <a:custGeom>
              <a:avLst/>
              <a:gdLst>
                <a:gd name="T0" fmla="*/ 186 w 186"/>
                <a:gd name="T1" fmla="*/ 37 h 379"/>
                <a:gd name="T2" fmla="*/ 0 w 186"/>
                <a:gd name="T3" fmla="*/ 0 h 379"/>
                <a:gd name="T4" fmla="*/ 0 w 186"/>
                <a:gd name="T5" fmla="*/ 315 h 379"/>
                <a:gd name="T6" fmla="*/ 186 w 186"/>
                <a:gd name="T7" fmla="*/ 379 h 379"/>
                <a:gd name="T8" fmla="*/ 186 w 186"/>
                <a:gd name="T9" fmla="*/ 37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6" h="379">
                  <a:moveTo>
                    <a:pt x="186" y="37"/>
                  </a:moveTo>
                  <a:lnTo>
                    <a:pt x="0" y="0"/>
                  </a:lnTo>
                  <a:lnTo>
                    <a:pt x="0" y="315"/>
                  </a:lnTo>
                  <a:lnTo>
                    <a:pt x="186" y="379"/>
                  </a:lnTo>
                  <a:lnTo>
                    <a:pt x="186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68"/>
            <p:cNvSpPr>
              <a:spLocks/>
            </p:cNvSpPr>
            <p:nvPr/>
          </p:nvSpPr>
          <p:spPr bwMode="auto">
            <a:xfrm>
              <a:off x="1905000" y="4173538"/>
              <a:ext cx="414338" cy="31750"/>
            </a:xfrm>
            <a:custGeom>
              <a:avLst/>
              <a:gdLst>
                <a:gd name="T0" fmla="*/ 0 w 522"/>
                <a:gd name="T1" fmla="*/ 9 h 41"/>
                <a:gd name="T2" fmla="*/ 301 w 522"/>
                <a:gd name="T3" fmla="*/ 0 h 41"/>
                <a:gd name="T4" fmla="*/ 522 w 522"/>
                <a:gd name="T5" fmla="*/ 20 h 41"/>
                <a:gd name="T6" fmla="*/ 192 w 522"/>
                <a:gd name="T7" fmla="*/ 41 h 41"/>
                <a:gd name="T8" fmla="*/ 0 w 522"/>
                <a:gd name="T9" fmla="*/ 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2" h="41">
                  <a:moveTo>
                    <a:pt x="0" y="9"/>
                  </a:moveTo>
                  <a:lnTo>
                    <a:pt x="301" y="0"/>
                  </a:lnTo>
                  <a:lnTo>
                    <a:pt x="522" y="20"/>
                  </a:lnTo>
                  <a:lnTo>
                    <a:pt x="192" y="41"/>
                  </a:lnTo>
                  <a:lnTo>
                    <a:pt x="0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4" name="TextBox 53"/>
          <p:cNvSpPr txBox="1"/>
          <p:nvPr/>
        </p:nvSpPr>
        <p:spPr>
          <a:xfrm>
            <a:off x="6336365" y="2074400"/>
            <a:ext cx="9336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Product</a:t>
            </a:r>
            <a:endParaRPr lang="en-US" b="1" dirty="0"/>
          </a:p>
        </p:txBody>
      </p:sp>
      <p:sp>
        <p:nvSpPr>
          <p:cNvPr id="70" name="Rektangel 76"/>
          <p:cNvSpPr>
            <a:spLocks noChangeArrowheads="1"/>
          </p:cNvSpPr>
          <p:nvPr/>
        </p:nvSpPr>
        <p:spPr bwMode="auto">
          <a:xfrm>
            <a:off x="652251" y="1997455"/>
            <a:ext cx="1489499" cy="892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algn="ctr" defTabSz="914400"/>
            <a:r>
              <a:rPr lang="en-US" sz="1600" b="1" noProof="1">
                <a:solidFill>
                  <a:srgbClr val="1E1C11"/>
                </a:solidFill>
                <a:latin typeface="Calibri" charset="0"/>
                <a:cs typeface="Arial" charset="0"/>
              </a:rPr>
              <a:t>Example text</a:t>
            </a:r>
          </a:p>
          <a:p>
            <a:pPr algn="ctr" defTabSz="914400"/>
            <a:r>
              <a:rPr lang="en-US" sz="1200" noProof="1">
                <a:latin typeface="Calibri" charset="0"/>
                <a:cs typeface="Arial" charset="0"/>
              </a:rPr>
              <a:t>Go ahead and replace it with your own text</a:t>
            </a:r>
            <a:r>
              <a:rPr lang="en-US" sz="1200" noProof="1" smtClean="0">
                <a:latin typeface="Calibri" charset="0"/>
                <a:cs typeface="Arial" charset="0"/>
              </a:rPr>
              <a:t>.</a:t>
            </a:r>
            <a:endParaRPr lang="da-DK" dirty="0">
              <a:solidFill>
                <a:srgbClr val="1E1C11"/>
              </a:solidFill>
              <a:latin typeface="Calibri" charset="0"/>
            </a:endParaRPr>
          </a:p>
        </p:txBody>
      </p:sp>
      <p:sp>
        <p:nvSpPr>
          <p:cNvPr id="71" name="Rektangel 76"/>
          <p:cNvSpPr>
            <a:spLocks noChangeArrowheads="1"/>
          </p:cNvSpPr>
          <p:nvPr/>
        </p:nvSpPr>
        <p:spPr bwMode="auto">
          <a:xfrm>
            <a:off x="2286000" y="3203376"/>
            <a:ext cx="1489499" cy="892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algn="ctr" defTabSz="914400"/>
            <a:r>
              <a:rPr lang="en-US" sz="1600" b="1" noProof="1">
                <a:solidFill>
                  <a:schemeClr val="bg1"/>
                </a:solidFill>
                <a:latin typeface="Calibri" charset="0"/>
                <a:cs typeface="Arial" charset="0"/>
              </a:rPr>
              <a:t>Example text</a:t>
            </a:r>
          </a:p>
          <a:p>
            <a:pPr algn="ctr" defTabSz="914400"/>
            <a:r>
              <a:rPr lang="en-US" sz="1200" noProof="1">
                <a:solidFill>
                  <a:schemeClr val="bg1"/>
                </a:solidFill>
                <a:latin typeface="Calibri" charset="0"/>
                <a:cs typeface="Arial" charset="0"/>
              </a:rPr>
              <a:t>Go ahead and replace it with your own text</a:t>
            </a:r>
            <a:r>
              <a:rPr lang="en-US" sz="1200" noProof="1" smtClean="0">
                <a:solidFill>
                  <a:schemeClr val="bg1"/>
                </a:solidFill>
                <a:latin typeface="Calibri" charset="0"/>
                <a:cs typeface="Arial" charset="0"/>
              </a:rPr>
              <a:t>.</a:t>
            </a:r>
            <a:endParaRPr lang="da-DK" dirty="0">
              <a:solidFill>
                <a:schemeClr val="bg1"/>
              </a:solidFill>
              <a:latin typeface="Calibri" charset="0"/>
            </a:endParaRPr>
          </a:p>
        </p:txBody>
      </p:sp>
      <p:sp>
        <p:nvSpPr>
          <p:cNvPr id="72" name="Rektangel 76"/>
          <p:cNvSpPr>
            <a:spLocks noChangeArrowheads="1"/>
          </p:cNvSpPr>
          <p:nvPr/>
        </p:nvSpPr>
        <p:spPr bwMode="auto">
          <a:xfrm>
            <a:off x="652251" y="4495800"/>
            <a:ext cx="1489499" cy="892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algn="ctr" defTabSz="914400"/>
            <a:r>
              <a:rPr lang="en-US" sz="1600" b="1" noProof="1">
                <a:solidFill>
                  <a:srgbClr val="1E1C11"/>
                </a:solidFill>
                <a:latin typeface="Calibri" charset="0"/>
                <a:cs typeface="Arial" charset="0"/>
              </a:rPr>
              <a:t>Example text</a:t>
            </a:r>
          </a:p>
          <a:p>
            <a:pPr algn="ctr" defTabSz="914400"/>
            <a:r>
              <a:rPr lang="en-US" sz="1200" noProof="1">
                <a:latin typeface="Calibri" charset="0"/>
                <a:cs typeface="Arial" charset="0"/>
              </a:rPr>
              <a:t>Go ahead and replace it with your own text</a:t>
            </a:r>
            <a:r>
              <a:rPr lang="en-US" sz="1200" noProof="1" smtClean="0">
                <a:latin typeface="Calibri" charset="0"/>
                <a:cs typeface="Arial" charset="0"/>
              </a:rPr>
              <a:t>.</a:t>
            </a:r>
            <a:endParaRPr lang="da-DK" dirty="0">
              <a:solidFill>
                <a:srgbClr val="1E1C11"/>
              </a:solidFill>
              <a:latin typeface="Calibri" charset="0"/>
            </a:endParaRPr>
          </a:p>
        </p:txBody>
      </p:sp>
      <p:sp>
        <p:nvSpPr>
          <p:cNvPr id="73" name="Isosceles Triangle 72"/>
          <p:cNvSpPr/>
          <p:nvPr/>
        </p:nvSpPr>
        <p:spPr>
          <a:xfrm rot="5400000">
            <a:off x="3503939" y="2366661"/>
            <a:ext cx="205722" cy="177346"/>
          </a:xfrm>
          <a:prstGeom prst="triangle">
            <a:avLst/>
          </a:prstGeom>
          <a:solidFill>
            <a:srgbClr val="0D65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Isosceles Triangle 73"/>
          <p:cNvSpPr/>
          <p:nvPr/>
        </p:nvSpPr>
        <p:spPr>
          <a:xfrm rot="5400000">
            <a:off x="4358845" y="3595588"/>
            <a:ext cx="205722" cy="177346"/>
          </a:xfrm>
          <a:prstGeom prst="triangle">
            <a:avLst/>
          </a:prstGeom>
          <a:solidFill>
            <a:srgbClr val="2A9B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Isosceles Triangle 74"/>
          <p:cNvSpPr/>
          <p:nvPr/>
        </p:nvSpPr>
        <p:spPr>
          <a:xfrm rot="5400000">
            <a:off x="3503939" y="4805060"/>
            <a:ext cx="205722" cy="177346"/>
          </a:xfrm>
          <a:prstGeom prst="triangle">
            <a:avLst/>
          </a:prstGeom>
          <a:solidFill>
            <a:srgbClr val="0D65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Rectangle 75"/>
          <p:cNvSpPr/>
          <p:nvPr/>
        </p:nvSpPr>
        <p:spPr>
          <a:xfrm>
            <a:off x="5448300" y="2482209"/>
            <a:ext cx="2819400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Place your text here, this is an example text. Go a head replace with your own tex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200" dirty="0">
              <a:solidFill>
                <a:srgbClr val="000000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Place your text here, this is an example text. Go a head replace with your own tex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200" dirty="0">
              <a:solidFill>
                <a:srgbClr val="000000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Place your text here, this is an example text. Go a head replace with your own tex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285690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580772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ubtitle 3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628650" y="866381"/>
            <a:ext cx="7891272" cy="24378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Replace this text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7</a:t>
            </a:fld>
            <a:r>
              <a:rPr lang="en-US" dirty="0" smtClean="0"/>
              <a:t> I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28650" y="404717"/>
            <a:ext cx="7886700" cy="461665"/>
          </a:xfrm>
        </p:spPr>
        <p:txBody>
          <a:bodyPr/>
          <a:lstStyle/>
          <a:p>
            <a:r>
              <a:rPr lang="en-US" dirty="0"/>
              <a:t>BUSINESS PLAN</a:t>
            </a:r>
            <a:endParaRPr lang="en-US" dirty="0">
              <a:latin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  <p:sp>
        <p:nvSpPr>
          <p:cNvPr id="18" name="Teardrop 17"/>
          <p:cNvSpPr/>
          <p:nvPr>
            <p:custDataLst>
              <p:tags r:id="rId9"/>
            </p:custDataLst>
          </p:nvPr>
        </p:nvSpPr>
        <p:spPr>
          <a:xfrm>
            <a:off x="2434581" y="3727294"/>
            <a:ext cx="2094068" cy="2094068"/>
          </a:xfrm>
          <a:prstGeom prst="teardrop">
            <a:avLst/>
          </a:prstGeom>
          <a:solidFill>
            <a:srgbClr val="D5D5D5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ardrop 18"/>
          <p:cNvSpPr/>
          <p:nvPr>
            <p:custDataLst>
              <p:tags r:id="rId10"/>
            </p:custDataLst>
          </p:nvPr>
        </p:nvSpPr>
        <p:spPr>
          <a:xfrm flipV="1">
            <a:off x="2434581" y="1585913"/>
            <a:ext cx="2094068" cy="2094068"/>
          </a:xfrm>
          <a:prstGeom prst="teardrop">
            <a:avLst/>
          </a:prstGeom>
          <a:solidFill>
            <a:srgbClr val="D5D5D5"/>
          </a:solidFill>
          <a:ln w="3175">
            <a:noFill/>
            <a:round/>
            <a:headEnd/>
            <a:tailEnd/>
          </a:ln>
          <a:effectLst>
            <a:innerShdw dist="38100" dir="150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ardrop 20"/>
          <p:cNvSpPr/>
          <p:nvPr>
            <p:custDataLst>
              <p:tags r:id="rId11"/>
            </p:custDataLst>
          </p:nvPr>
        </p:nvSpPr>
        <p:spPr>
          <a:xfrm flipH="1">
            <a:off x="4580467" y="3727294"/>
            <a:ext cx="2094068" cy="2094068"/>
          </a:xfrm>
          <a:prstGeom prst="teardrop">
            <a:avLst/>
          </a:prstGeom>
          <a:solidFill>
            <a:srgbClr val="D5D5D5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ardrop 21"/>
          <p:cNvSpPr/>
          <p:nvPr>
            <p:custDataLst>
              <p:tags r:id="rId12"/>
            </p:custDataLst>
          </p:nvPr>
        </p:nvSpPr>
        <p:spPr>
          <a:xfrm flipH="1" flipV="1">
            <a:off x="4580467" y="1585913"/>
            <a:ext cx="2094068" cy="2094068"/>
          </a:xfrm>
          <a:prstGeom prst="teardrop">
            <a:avLst/>
          </a:prstGeom>
          <a:solidFill>
            <a:srgbClr val="D5D5D5"/>
          </a:solidFill>
          <a:ln w="3175">
            <a:noFill/>
            <a:round/>
            <a:headEnd/>
            <a:tailEnd/>
          </a:ln>
          <a:effectLst>
            <a:innerShdw dist="38100" dir="150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10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2625849" y="2055711"/>
            <a:ext cx="1821596" cy="11544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eaLnBrk="1" hangingPunct="1"/>
            <a:r>
              <a:rPr lang="en-US" sz="1200" b="1" dirty="0">
                <a:latin typeface="Calibri" charset="0"/>
              </a:rPr>
              <a:t>Market Trends</a:t>
            </a:r>
          </a:p>
          <a:p>
            <a:pPr algn="ctr" eaLnBrk="1" hangingPunct="1"/>
            <a:endParaRPr lang="en-US" sz="1100" dirty="0">
              <a:latin typeface="Calibri" charset="0"/>
            </a:endParaRPr>
          </a:p>
          <a:p>
            <a:pPr algn="ctr" eaLnBrk="1" hangingPunct="1"/>
            <a:r>
              <a:rPr lang="en-US" sz="1100" noProof="1">
                <a:latin typeface="Calibri" charset="0"/>
                <a:cs typeface="Arial" charset="0"/>
              </a:rPr>
              <a:t>This is an example text. Go ahead an replace it with your own text. This is an example text</a:t>
            </a:r>
            <a:endParaRPr lang="en-US" sz="1100" dirty="0">
              <a:latin typeface="Calibri" charset="0"/>
            </a:endParaRPr>
          </a:p>
        </p:txBody>
      </p:sp>
      <p:sp>
        <p:nvSpPr>
          <p:cNvPr id="26" name="TextBox 1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716703" y="2055711"/>
            <a:ext cx="1821596" cy="11544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eaLnBrk="1" hangingPunct="1"/>
            <a:r>
              <a:rPr lang="en-US" sz="1200" b="1" dirty="0">
                <a:latin typeface="Calibri" charset="0"/>
              </a:rPr>
              <a:t>Market Growth</a:t>
            </a:r>
          </a:p>
          <a:p>
            <a:pPr algn="ctr" eaLnBrk="1" hangingPunct="1"/>
            <a:endParaRPr lang="en-US" sz="1100" dirty="0">
              <a:latin typeface="Calibri" charset="0"/>
            </a:endParaRPr>
          </a:p>
          <a:p>
            <a:pPr algn="ctr" eaLnBrk="1" hangingPunct="1"/>
            <a:r>
              <a:rPr lang="en-US" sz="1100" noProof="1">
                <a:latin typeface="Calibri" charset="0"/>
                <a:cs typeface="Arial" charset="0"/>
              </a:rPr>
              <a:t>This is an example text. Go ahead an replace it with your own text. This is an example text</a:t>
            </a:r>
            <a:endParaRPr lang="en-US" sz="1100" dirty="0">
              <a:latin typeface="Calibri" charset="0"/>
            </a:endParaRPr>
          </a:p>
        </p:txBody>
      </p:sp>
      <p:sp>
        <p:nvSpPr>
          <p:cNvPr id="27" name="TextBox 12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625849" y="4169347"/>
            <a:ext cx="1821596" cy="11544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eaLnBrk="1" hangingPunct="1"/>
            <a:r>
              <a:rPr lang="en-US" sz="1200" b="1" dirty="0">
                <a:latin typeface="Calibri" charset="0"/>
              </a:rPr>
              <a:t>Industry Analysis</a:t>
            </a:r>
          </a:p>
          <a:p>
            <a:pPr algn="ctr" eaLnBrk="1" hangingPunct="1"/>
            <a:endParaRPr lang="en-US" sz="1100" dirty="0">
              <a:latin typeface="Calibri" charset="0"/>
            </a:endParaRPr>
          </a:p>
          <a:p>
            <a:pPr algn="ctr" eaLnBrk="1" hangingPunct="1"/>
            <a:r>
              <a:rPr lang="en-US" sz="1100" noProof="1">
                <a:latin typeface="Calibri" charset="0"/>
                <a:cs typeface="Arial" charset="0"/>
              </a:rPr>
              <a:t>This is an example text. Go ahead an replace it with your own text. This is an example text</a:t>
            </a:r>
            <a:endParaRPr lang="en-US" sz="1100" dirty="0">
              <a:latin typeface="Calibri" charset="0"/>
            </a:endParaRPr>
          </a:p>
        </p:txBody>
      </p:sp>
      <p:sp>
        <p:nvSpPr>
          <p:cNvPr id="28" name="TextBox 13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4704003" y="4169347"/>
            <a:ext cx="1821596" cy="11544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eaLnBrk="1" hangingPunct="1"/>
            <a:r>
              <a:rPr lang="en-US" sz="1200" b="1" dirty="0">
                <a:latin typeface="Calibri" charset="0"/>
              </a:rPr>
              <a:t>Main Competitors</a:t>
            </a:r>
          </a:p>
          <a:p>
            <a:pPr algn="ctr" eaLnBrk="1" hangingPunct="1"/>
            <a:endParaRPr lang="en-US" sz="1100" dirty="0">
              <a:latin typeface="Calibri" charset="0"/>
            </a:endParaRPr>
          </a:p>
          <a:p>
            <a:pPr algn="ctr" eaLnBrk="1" hangingPunct="1"/>
            <a:r>
              <a:rPr lang="en-US" sz="1100" noProof="1">
                <a:latin typeface="Calibri" charset="0"/>
                <a:cs typeface="Arial" charset="0"/>
              </a:rPr>
              <a:t>This is an example text. Go ahead an replace it with your own text. This is an example text</a:t>
            </a:r>
            <a:endParaRPr lang="en-US" sz="1100" dirty="0">
              <a:latin typeface="Calibri" charset="0"/>
            </a:endParaRPr>
          </a:p>
        </p:txBody>
      </p:sp>
      <p:sp>
        <p:nvSpPr>
          <p:cNvPr id="20" name="Oval 19"/>
          <p:cNvSpPr/>
          <p:nvPr>
            <p:custDataLst>
              <p:tags r:id="rId17"/>
            </p:custDataLst>
          </p:nvPr>
        </p:nvSpPr>
        <p:spPr>
          <a:xfrm>
            <a:off x="3876675" y="3727294"/>
            <a:ext cx="651975" cy="690952"/>
          </a:xfrm>
          <a:custGeom>
            <a:avLst/>
            <a:gdLst/>
            <a:ahLst/>
            <a:cxnLst/>
            <a:rect l="l" t="t" r="r" b="b"/>
            <a:pathLst>
              <a:path w="651975" h="690952">
                <a:moveTo>
                  <a:pt x="0" y="0"/>
                </a:moveTo>
                <a:lnTo>
                  <a:pt x="651975" y="0"/>
                </a:lnTo>
                <a:lnTo>
                  <a:pt x="651975" y="690952"/>
                </a:lnTo>
                <a:cubicBezTo>
                  <a:pt x="288052" y="671509"/>
                  <a:pt x="1" y="369394"/>
                  <a:pt x="0" y="0"/>
                </a:cubicBezTo>
                <a:close/>
              </a:path>
            </a:pathLst>
          </a:custGeom>
          <a:solidFill>
            <a:srgbClr val="F0B71F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28"/>
          <p:cNvSpPr/>
          <p:nvPr>
            <p:custDataLst>
              <p:tags r:id="rId18"/>
            </p:custDataLst>
          </p:nvPr>
        </p:nvSpPr>
        <p:spPr>
          <a:xfrm>
            <a:off x="4580468" y="3727295"/>
            <a:ext cx="686859" cy="694469"/>
          </a:xfrm>
          <a:custGeom>
            <a:avLst/>
            <a:gdLst/>
            <a:ahLst/>
            <a:cxnLst/>
            <a:rect l="l" t="t" r="r" b="b"/>
            <a:pathLst>
              <a:path w="686859" h="694469">
                <a:moveTo>
                  <a:pt x="0" y="0"/>
                </a:moveTo>
                <a:lnTo>
                  <a:pt x="686859" y="0"/>
                </a:lnTo>
                <a:cubicBezTo>
                  <a:pt x="686858" y="381187"/>
                  <a:pt x="380121" y="690731"/>
                  <a:pt x="0" y="694469"/>
                </a:cubicBezTo>
                <a:close/>
              </a:path>
            </a:pathLst>
          </a:custGeom>
          <a:solidFill>
            <a:srgbClr val="CE202A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/>
          <p:cNvSpPr/>
          <p:nvPr>
            <p:custDataLst>
              <p:tags r:id="rId19"/>
            </p:custDataLst>
          </p:nvPr>
        </p:nvSpPr>
        <p:spPr>
          <a:xfrm>
            <a:off x="4580467" y="3032823"/>
            <a:ext cx="682090" cy="647159"/>
          </a:xfrm>
          <a:custGeom>
            <a:avLst/>
            <a:gdLst/>
            <a:ahLst/>
            <a:cxnLst/>
            <a:rect l="l" t="t" r="r" b="b"/>
            <a:pathLst>
              <a:path w="682090" h="647159">
                <a:moveTo>
                  <a:pt x="0" y="0"/>
                </a:moveTo>
                <a:cubicBezTo>
                  <a:pt x="364194" y="3547"/>
                  <a:pt x="661024" y="287876"/>
                  <a:pt x="682090" y="647159"/>
                </a:cubicBezTo>
                <a:lnTo>
                  <a:pt x="0" y="647159"/>
                </a:lnTo>
                <a:close/>
              </a:path>
            </a:pathLst>
          </a:custGeom>
          <a:solidFill>
            <a:srgbClr val="2A9B18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/>
          <p:cNvSpPr/>
          <p:nvPr>
            <p:custDataLst>
              <p:tags r:id="rId20"/>
            </p:custDataLst>
          </p:nvPr>
        </p:nvSpPr>
        <p:spPr>
          <a:xfrm>
            <a:off x="3881445" y="3036339"/>
            <a:ext cx="647205" cy="643643"/>
          </a:xfrm>
          <a:custGeom>
            <a:avLst/>
            <a:gdLst/>
            <a:ahLst/>
            <a:cxnLst/>
            <a:rect l="l" t="t" r="r" b="b"/>
            <a:pathLst>
              <a:path w="647205" h="643643">
                <a:moveTo>
                  <a:pt x="647205" y="0"/>
                </a:moveTo>
                <a:lnTo>
                  <a:pt x="647205" y="643643"/>
                </a:lnTo>
                <a:lnTo>
                  <a:pt x="0" y="643643"/>
                </a:lnTo>
                <a:cubicBezTo>
                  <a:pt x="20283" y="295955"/>
                  <a:pt x="299010" y="18472"/>
                  <a:pt x="647205" y="0"/>
                </a:cubicBezTo>
                <a:close/>
              </a:path>
            </a:pathLst>
          </a:custGeom>
          <a:solidFill>
            <a:srgbClr val="0D65AC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/>
          <p:cNvSpPr/>
          <p:nvPr>
            <p:custDataLst>
              <p:tags r:id="rId21"/>
            </p:custDataLst>
          </p:nvPr>
        </p:nvSpPr>
        <p:spPr>
          <a:xfrm>
            <a:off x="4110566" y="3265858"/>
            <a:ext cx="922867" cy="922867"/>
          </a:xfrm>
          <a:prstGeom prst="ellipse">
            <a:avLst/>
          </a:prstGeom>
          <a:solidFill>
            <a:srgbClr val="7F7F7F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>
            <p:custDataLst>
              <p:tags r:id="rId22"/>
            </p:custDataLst>
          </p:nvPr>
        </p:nvSpPr>
        <p:spPr>
          <a:xfrm>
            <a:off x="4248256" y="3588793"/>
            <a:ext cx="64748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  <a:latin typeface="Calibri" charset="0"/>
              </a:rPr>
              <a:t>Market</a:t>
            </a:r>
            <a:endParaRPr lang="en-US" sz="1200" b="1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57974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oup 47"/>
          <p:cNvGrpSpPr/>
          <p:nvPr/>
        </p:nvGrpSpPr>
        <p:grpSpPr>
          <a:xfrm>
            <a:off x="5915636" y="1776549"/>
            <a:ext cx="2413854" cy="4028695"/>
            <a:chOff x="5915636" y="1776549"/>
            <a:chExt cx="2413854" cy="4028695"/>
          </a:xfrm>
        </p:grpSpPr>
        <p:sp>
          <p:nvSpPr>
            <p:cNvPr id="26" name="Rectangle 25"/>
            <p:cNvSpPr/>
            <p:nvPr/>
          </p:nvSpPr>
          <p:spPr>
            <a:xfrm>
              <a:off x="5915636" y="2287390"/>
              <a:ext cx="2413854" cy="3517854"/>
            </a:xfrm>
            <a:prstGeom prst="rect">
              <a:avLst/>
            </a:prstGeom>
            <a:solidFill>
              <a:srgbClr val="D5D5D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365760" rIns="182880" bIns="91440" rtlCol="0" anchor="t"/>
            <a:lstStyle/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Place your text here, this is an example text. Go a head replace with your own </a:t>
              </a:r>
              <a:r>
                <a:rPr lang="en-US" sz="1200" dirty="0" smtClean="0">
                  <a:solidFill>
                    <a:srgbClr val="000000"/>
                  </a:solidFill>
                </a:rPr>
                <a:t>text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endParaRPr lang="en-US" sz="1200" dirty="0" smtClean="0">
                <a:solidFill>
                  <a:srgbClr val="000000"/>
                </a:solidFill>
              </a:endParaRP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Place your text here, this is an example text. Go a head replace with your own </a:t>
              </a:r>
              <a:r>
                <a:rPr lang="en-US" sz="1200" dirty="0" smtClean="0">
                  <a:solidFill>
                    <a:srgbClr val="000000"/>
                  </a:solidFill>
                </a:rPr>
                <a:t>text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endParaRPr lang="en-US" sz="1200" dirty="0">
                <a:solidFill>
                  <a:srgbClr val="000000"/>
                </a:solidFill>
              </a:endParaRP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Place your text here, this is an example text. Go a head replace with your own </a:t>
              </a:r>
              <a:r>
                <a:rPr lang="en-US" sz="1200" dirty="0" smtClean="0">
                  <a:solidFill>
                    <a:srgbClr val="000000"/>
                  </a:solidFill>
                </a:rPr>
                <a:t>text</a:t>
              </a: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5915636" y="1776549"/>
              <a:ext cx="2413854" cy="513075"/>
            </a:xfrm>
            <a:prstGeom prst="rect">
              <a:avLst/>
            </a:prstGeom>
            <a:solidFill>
              <a:srgbClr val="7F7F7F"/>
            </a:solidFill>
            <a:ln w="3175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 defTabSz="801688">
                <a:spcBef>
                  <a:spcPct val="20000"/>
                </a:spcBef>
              </a:pPr>
              <a:r>
                <a:rPr lang="en-US" sz="1400" b="1" noProof="1">
                  <a:solidFill>
                    <a:schemeClr val="bg1"/>
                  </a:solidFill>
                  <a:latin typeface="Calibri" charset="0"/>
                  <a:cs typeface="Arial" charset="0"/>
                </a:rPr>
                <a:t>Assesment of posibilities on the market</a:t>
              </a:r>
              <a:endParaRPr lang="en-US" sz="1400" b="1" noProof="1">
                <a:solidFill>
                  <a:schemeClr val="bg1"/>
                </a:solidFill>
                <a:latin typeface="Calibri" charset="0"/>
                <a:cs typeface="Arial" charset="0"/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5915636" y="2291597"/>
              <a:ext cx="2413854" cy="82160"/>
            </a:xfrm>
            <a:prstGeom prst="rect">
              <a:avLst/>
            </a:prstGeom>
            <a:solidFill>
              <a:srgbClr val="CE202A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3365074" y="1776549"/>
            <a:ext cx="2413854" cy="4028695"/>
            <a:chOff x="3365074" y="1776549"/>
            <a:chExt cx="2413854" cy="4028695"/>
          </a:xfrm>
        </p:grpSpPr>
        <p:sp>
          <p:nvSpPr>
            <p:cNvPr id="25" name="Rectangle 24"/>
            <p:cNvSpPr/>
            <p:nvPr/>
          </p:nvSpPr>
          <p:spPr>
            <a:xfrm>
              <a:off x="3365074" y="2287390"/>
              <a:ext cx="2413854" cy="3517854"/>
            </a:xfrm>
            <a:prstGeom prst="rect">
              <a:avLst/>
            </a:prstGeom>
            <a:solidFill>
              <a:srgbClr val="D5D5D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365760" rIns="182880" bIns="91440" rtlCol="0" anchor="t"/>
            <a:lstStyle/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Place your text here, this is an example text. Go a head replace with your own </a:t>
              </a:r>
              <a:r>
                <a:rPr lang="en-US" sz="1200" dirty="0" smtClean="0">
                  <a:solidFill>
                    <a:srgbClr val="000000"/>
                  </a:solidFill>
                </a:rPr>
                <a:t>text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endParaRPr lang="en-US" sz="1200" dirty="0" smtClean="0">
                <a:solidFill>
                  <a:srgbClr val="000000"/>
                </a:solidFill>
              </a:endParaRP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Place your text here, this is an example text. Go a head replace with your own </a:t>
              </a:r>
              <a:r>
                <a:rPr lang="en-US" sz="1200" dirty="0" smtClean="0">
                  <a:solidFill>
                    <a:srgbClr val="000000"/>
                  </a:solidFill>
                </a:rPr>
                <a:t>text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endParaRPr lang="en-US" sz="1200" dirty="0">
                <a:solidFill>
                  <a:srgbClr val="000000"/>
                </a:solidFill>
              </a:endParaRP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Place your text here, this is an example text. Go a head replace with your own </a:t>
              </a:r>
              <a:r>
                <a:rPr lang="en-US" sz="1200" dirty="0" smtClean="0">
                  <a:solidFill>
                    <a:srgbClr val="000000"/>
                  </a:solidFill>
                </a:rPr>
                <a:t>text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3365074" y="1776549"/>
              <a:ext cx="2413854" cy="513075"/>
            </a:xfrm>
            <a:prstGeom prst="rect">
              <a:avLst/>
            </a:prstGeom>
            <a:solidFill>
              <a:srgbClr val="7F7F7F"/>
            </a:solidFill>
            <a:ln w="3175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 defTabSz="801688">
                <a:spcBef>
                  <a:spcPct val="20000"/>
                </a:spcBef>
              </a:pPr>
              <a:r>
                <a:rPr lang="en-US" sz="1400" b="1" noProof="1">
                  <a:solidFill>
                    <a:schemeClr val="bg1"/>
                  </a:solidFill>
                  <a:latin typeface="Calibri" charset="0"/>
                  <a:cs typeface="Arial" charset="0"/>
                </a:rPr>
                <a:t>Competitive parameters on the market</a:t>
              </a:r>
              <a:endParaRPr lang="en-US" sz="1400" b="1" noProof="1">
                <a:solidFill>
                  <a:schemeClr val="bg1"/>
                </a:solidFill>
                <a:latin typeface="Calibri" charset="0"/>
                <a:cs typeface="Arial" charset="0"/>
              </a:endParaRP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3365074" y="2291597"/>
              <a:ext cx="2413854" cy="82160"/>
            </a:xfrm>
            <a:prstGeom prst="rect">
              <a:avLst/>
            </a:prstGeom>
            <a:solidFill>
              <a:srgbClr val="2A9B18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814511" y="1776549"/>
            <a:ext cx="2413854" cy="4028695"/>
            <a:chOff x="814511" y="1776549"/>
            <a:chExt cx="2413854" cy="4028695"/>
          </a:xfrm>
        </p:grpSpPr>
        <p:sp>
          <p:nvSpPr>
            <p:cNvPr id="24" name="Rectangle 23"/>
            <p:cNvSpPr/>
            <p:nvPr/>
          </p:nvSpPr>
          <p:spPr>
            <a:xfrm>
              <a:off x="814511" y="2287390"/>
              <a:ext cx="2413854" cy="3517854"/>
            </a:xfrm>
            <a:prstGeom prst="rect">
              <a:avLst/>
            </a:prstGeom>
            <a:solidFill>
              <a:srgbClr val="D5D5D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365760" rIns="182880" bIns="91440" rtlCol="0" anchor="t"/>
            <a:lstStyle/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Place your text here, this is an example text. Go a head replace with your own </a:t>
              </a:r>
              <a:r>
                <a:rPr lang="en-US" sz="1200" dirty="0" smtClean="0">
                  <a:solidFill>
                    <a:srgbClr val="000000"/>
                  </a:solidFill>
                </a:rPr>
                <a:t>text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endParaRPr lang="en-US" sz="1200" dirty="0" smtClean="0">
                <a:solidFill>
                  <a:srgbClr val="000000"/>
                </a:solidFill>
              </a:endParaRP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Place your text here, this is an example text. Go a head replace with your own </a:t>
              </a:r>
              <a:r>
                <a:rPr lang="en-US" sz="1200" dirty="0" smtClean="0">
                  <a:solidFill>
                    <a:srgbClr val="000000"/>
                  </a:solidFill>
                </a:rPr>
                <a:t>text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endParaRPr lang="en-US" sz="1200" dirty="0">
                <a:solidFill>
                  <a:srgbClr val="000000"/>
                </a:solidFill>
              </a:endParaRP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Place your text here, this is an example text. Go a head replace with your own </a:t>
              </a:r>
              <a:r>
                <a:rPr lang="en-US" sz="1200" dirty="0" smtClean="0">
                  <a:solidFill>
                    <a:srgbClr val="000000"/>
                  </a:solidFill>
                </a:rPr>
                <a:t>text</a:t>
              </a: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814511" y="1776549"/>
              <a:ext cx="2413854" cy="513075"/>
            </a:xfrm>
            <a:prstGeom prst="rect">
              <a:avLst/>
            </a:prstGeom>
            <a:solidFill>
              <a:srgbClr val="7F7F7F"/>
            </a:solidFill>
            <a:ln w="3175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 defTabSz="801688">
                <a:spcBef>
                  <a:spcPct val="20000"/>
                </a:spcBef>
              </a:pPr>
              <a:r>
                <a:rPr lang="en-US" sz="1400" b="1" noProof="1">
                  <a:solidFill>
                    <a:schemeClr val="bg1"/>
                  </a:solidFill>
                  <a:latin typeface="Calibri" charset="0"/>
                  <a:cs typeface="Arial" charset="0"/>
                </a:rPr>
                <a:t>Important competitiors</a:t>
              </a:r>
              <a:endParaRPr lang="en-US" sz="1400" b="1" noProof="1">
                <a:solidFill>
                  <a:schemeClr val="bg1"/>
                </a:solidFill>
                <a:latin typeface="Calibri" charset="0"/>
                <a:cs typeface="Arial" charset="0"/>
              </a:endParaRPr>
            </a:p>
          </p:txBody>
        </p:sp>
      </p:grpSp>
      <p:sp>
        <p:nvSpPr>
          <p:cNvPr id="39" name="Rectangle 38"/>
          <p:cNvSpPr/>
          <p:nvPr/>
        </p:nvSpPr>
        <p:spPr>
          <a:xfrm>
            <a:off x="814511" y="2291597"/>
            <a:ext cx="2413854" cy="82160"/>
          </a:xfrm>
          <a:prstGeom prst="rect">
            <a:avLst/>
          </a:prstGeom>
          <a:solidFill>
            <a:srgbClr val="0D65AC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4378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Replace this text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8</a:t>
            </a:fld>
            <a:r>
              <a:rPr lang="en-US" dirty="0" smtClean="0"/>
              <a:t> I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404717"/>
            <a:ext cx="7886700" cy="461665"/>
          </a:xfrm>
        </p:spPr>
        <p:txBody>
          <a:bodyPr/>
          <a:lstStyle/>
          <a:p>
            <a:r>
              <a:rPr lang="en-US" dirty="0"/>
              <a:t>BUSINESS PLAN</a:t>
            </a:r>
            <a:endParaRPr lang="en-US" dirty="0">
              <a:latin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  <p:grpSp>
        <p:nvGrpSpPr>
          <p:cNvPr id="38" name="Group 37"/>
          <p:cNvGrpSpPr/>
          <p:nvPr/>
        </p:nvGrpSpPr>
        <p:grpSpPr>
          <a:xfrm>
            <a:off x="3119215" y="1847024"/>
            <a:ext cx="2905571" cy="372123"/>
            <a:chOff x="3179033" y="1847024"/>
            <a:chExt cx="2905571" cy="372123"/>
          </a:xfrm>
        </p:grpSpPr>
        <p:sp>
          <p:nvSpPr>
            <p:cNvPr id="31" name="Oval 30"/>
            <p:cNvSpPr/>
            <p:nvPr/>
          </p:nvSpPr>
          <p:spPr>
            <a:xfrm>
              <a:off x="3179033" y="1847024"/>
              <a:ext cx="372123" cy="372123"/>
            </a:xfrm>
            <a:prstGeom prst="ellipse">
              <a:avLst/>
            </a:prstGeom>
            <a:solidFill>
              <a:schemeClr val="bg1"/>
            </a:solidFill>
            <a:ln w="3175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 defTabSz="801688">
                <a:spcBef>
                  <a:spcPct val="20000"/>
                </a:spcBef>
              </a:pPr>
              <a:r>
                <a:rPr lang="en-US" b="1" dirty="0" smtClean="0">
                  <a:solidFill>
                    <a:srgbClr val="7F7F7F"/>
                  </a:solidFill>
                  <a:latin typeface="Calibri" charset="0"/>
                  <a:cs typeface="Arial" charset="0"/>
                </a:rPr>
                <a:t>+</a:t>
              </a:r>
              <a:endParaRPr lang="en-US" b="1" dirty="0">
                <a:solidFill>
                  <a:srgbClr val="7F7F7F"/>
                </a:solidFill>
                <a:latin typeface="Calibri" charset="0"/>
                <a:cs typeface="Arial" charset="0"/>
              </a:endParaRPr>
            </a:p>
          </p:txBody>
        </p:sp>
        <p:sp>
          <p:nvSpPr>
            <p:cNvPr id="32" name="Oval 31"/>
            <p:cNvSpPr/>
            <p:nvPr/>
          </p:nvSpPr>
          <p:spPr>
            <a:xfrm>
              <a:off x="5712481" y="1847024"/>
              <a:ext cx="372123" cy="372123"/>
            </a:xfrm>
            <a:prstGeom prst="ellipse">
              <a:avLst/>
            </a:prstGeom>
            <a:solidFill>
              <a:schemeClr val="bg1"/>
            </a:solidFill>
            <a:ln w="3175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 defTabSz="801688">
                <a:spcBef>
                  <a:spcPct val="20000"/>
                </a:spcBef>
              </a:pPr>
              <a:r>
                <a:rPr lang="en-US" b="1" dirty="0" smtClean="0">
                  <a:solidFill>
                    <a:srgbClr val="7F7F7F"/>
                  </a:solidFill>
                  <a:latin typeface="Calibri" charset="0"/>
                  <a:cs typeface="Arial" charset="0"/>
                </a:rPr>
                <a:t>+</a:t>
              </a:r>
              <a:endParaRPr lang="en-US" b="1" dirty="0">
                <a:solidFill>
                  <a:srgbClr val="7F7F7F"/>
                </a:solidFill>
                <a:latin typeface="Calibri" charset="0"/>
                <a:cs typeface="Arial" charset="0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60150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406002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ubtitle 3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628650" y="866381"/>
            <a:ext cx="7891272" cy="24378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Replace this text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9</a:t>
            </a:fld>
            <a:r>
              <a:rPr lang="en-US" dirty="0" smtClean="0"/>
              <a:t> I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28650" y="404717"/>
            <a:ext cx="7886700" cy="461665"/>
          </a:xfrm>
        </p:spPr>
        <p:txBody>
          <a:bodyPr/>
          <a:lstStyle/>
          <a:p>
            <a:r>
              <a:rPr lang="en-US" dirty="0"/>
              <a:t>BUSINESS PLAN</a:t>
            </a:r>
            <a:endParaRPr lang="en-US" dirty="0">
              <a:latin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  <p:grpSp>
        <p:nvGrpSpPr>
          <p:cNvPr id="45" name="Group 44"/>
          <p:cNvGrpSpPr/>
          <p:nvPr/>
        </p:nvGrpSpPr>
        <p:grpSpPr>
          <a:xfrm>
            <a:off x="1572944" y="1694822"/>
            <a:ext cx="5998112" cy="3886506"/>
            <a:chOff x="1672581" y="1694822"/>
            <a:chExt cx="5998112" cy="3886506"/>
          </a:xfrm>
        </p:grpSpPr>
        <p:grpSp>
          <p:nvGrpSpPr>
            <p:cNvPr id="24" name="Group 23"/>
            <p:cNvGrpSpPr/>
            <p:nvPr>
              <p:custDataLst>
                <p:tags r:id="rId9"/>
              </p:custDataLst>
            </p:nvPr>
          </p:nvGrpSpPr>
          <p:grpSpPr>
            <a:xfrm>
              <a:off x="1672581" y="3746584"/>
              <a:ext cx="1756419" cy="1834744"/>
              <a:chOff x="1672581" y="3632459"/>
              <a:chExt cx="2095459" cy="2188903"/>
            </a:xfrm>
          </p:grpSpPr>
          <p:sp>
            <p:nvSpPr>
              <p:cNvPr id="14" name="Teardrop 13"/>
              <p:cNvSpPr/>
              <p:nvPr/>
            </p:nvSpPr>
            <p:spPr>
              <a:xfrm>
                <a:off x="1672581" y="3727294"/>
                <a:ext cx="2094068" cy="2094068"/>
              </a:xfrm>
              <a:prstGeom prst="teardrop">
                <a:avLst/>
              </a:prstGeom>
              <a:solidFill>
                <a:srgbClr val="D5D5D5"/>
              </a:solidFill>
              <a:ln w="3175">
                <a:noFill/>
                <a:round/>
                <a:headEnd/>
                <a:tailEnd/>
              </a:ln>
              <a:effectLst>
                <a:innerShdw dist="38100" dir="5400000">
                  <a:prstClr val="black">
                    <a:alpha val="2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" name="Freeform 4"/>
              <p:cNvSpPr>
                <a:spLocks noChangeArrowheads="1"/>
              </p:cNvSpPr>
              <p:nvPr/>
            </p:nvSpPr>
            <p:spPr bwMode="auto">
              <a:xfrm rot="2503993" flipV="1">
                <a:off x="3296721" y="3632459"/>
                <a:ext cx="471319" cy="683703"/>
              </a:xfrm>
              <a:custGeom>
                <a:avLst/>
                <a:gdLst>
                  <a:gd name="T0" fmla="*/ 0 w 928694"/>
                  <a:gd name="T1" fmla="*/ 220409 h 1082973"/>
                  <a:gd name="T2" fmla="*/ 142434 w 928694"/>
                  <a:gd name="T3" fmla="*/ 0 h 1082973"/>
                  <a:gd name="T4" fmla="*/ 284869 w 928694"/>
                  <a:gd name="T5" fmla="*/ 220409 h 1082973"/>
                  <a:gd name="T6" fmla="*/ 213652 w 928694"/>
                  <a:gd name="T7" fmla="*/ 220409 h 1082973"/>
                  <a:gd name="T8" fmla="*/ 150835 w 928694"/>
                  <a:gd name="T9" fmla="*/ 514050 h 1082973"/>
                  <a:gd name="T10" fmla="*/ 150815 w 928694"/>
                  <a:gd name="T11" fmla="*/ 512543 h 1082973"/>
                  <a:gd name="T12" fmla="*/ 71217 w 928694"/>
                  <a:gd name="T13" fmla="*/ 220409 h 1082973"/>
                  <a:gd name="T14" fmla="*/ 0 w 928694"/>
                  <a:gd name="T15" fmla="*/ 220409 h 108297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28694"/>
                  <a:gd name="T25" fmla="*/ 0 h 1082973"/>
                  <a:gd name="T26" fmla="*/ 928694 w 928694"/>
                  <a:gd name="T27" fmla="*/ 1082973 h 108297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28694" h="1082973">
                    <a:moveTo>
                      <a:pt x="0" y="464347"/>
                    </a:moveTo>
                    <a:lnTo>
                      <a:pt x="464347" y="0"/>
                    </a:lnTo>
                    <a:lnTo>
                      <a:pt x="928694" y="464347"/>
                    </a:lnTo>
                    <a:lnTo>
                      <a:pt x="696521" y="464347"/>
                    </a:lnTo>
                    <a:lnTo>
                      <a:pt x="491733" y="1082973"/>
                    </a:lnTo>
                    <a:cubicBezTo>
                      <a:pt x="491711" y="1081914"/>
                      <a:pt x="491690" y="1080856"/>
                      <a:pt x="491668" y="1079797"/>
                    </a:cubicBezTo>
                    <a:lnTo>
                      <a:pt x="232174" y="464347"/>
                    </a:lnTo>
                    <a:lnTo>
                      <a:pt x="0" y="464347"/>
                    </a:lnTo>
                    <a:close/>
                  </a:path>
                </a:pathLst>
              </a:custGeom>
              <a:solidFill>
                <a:srgbClr val="0D65AC"/>
              </a:solidFill>
              <a:ln w="3175">
                <a:noFill/>
                <a:round/>
                <a:headEnd/>
                <a:tailEnd/>
              </a:ln>
              <a:effectLst>
                <a:innerShdw dist="38100" dir="5400000">
                  <a:prstClr val="black">
                    <a:alpha val="20000"/>
                  </a:prstClr>
                </a:innerShdw>
              </a:effectLst>
            </p:spPr>
            <p:txBody>
              <a:bodyPr anchor="ctr"/>
              <a:lstStyle/>
              <a:p>
                <a:endParaRPr lang="en-US" sz="1600"/>
              </a:p>
            </p:txBody>
          </p:sp>
          <p:sp>
            <p:nvSpPr>
              <p:cNvPr id="18" name="Rectangle 17"/>
              <p:cNvSpPr/>
              <p:nvPr/>
            </p:nvSpPr>
            <p:spPr>
              <a:xfrm>
                <a:off x="1778924" y="4549011"/>
                <a:ext cx="1893251" cy="91980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71450" indent="-171450">
                  <a:spcBef>
                    <a:spcPct val="20000"/>
                  </a:spcBef>
                  <a:buFont typeface="Arial" pitchFamily="34" charset="0"/>
                  <a:buChar char="•"/>
                </a:pPr>
                <a:r>
                  <a:rPr lang="en-US" sz="1050" noProof="1" smtClean="0">
                    <a:solidFill>
                      <a:srgbClr val="080808"/>
                    </a:solidFill>
                    <a:latin typeface="Calibri" charset="0"/>
                    <a:cs typeface="Arial" charset="0"/>
                  </a:rPr>
                  <a:t>This is an example text. </a:t>
                </a:r>
              </a:p>
              <a:p>
                <a:pPr marL="171450" indent="-171450">
                  <a:spcBef>
                    <a:spcPct val="20000"/>
                  </a:spcBef>
                  <a:buFont typeface="Arial" pitchFamily="34" charset="0"/>
                  <a:buChar char="•"/>
                </a:pPr>
                <a:r>
                  <a:rPr lang="en-US" sz="1050" noProof="1" smtClean="0">
                    <a:solidFill>
                      <a:srgbClr val="080808"/>
                    </a:solidFill>
                    <a:latin typeface="Calibri" charset="0"/>
                    <a:cs typeface="Arial" charset="0"/>
                  </a:rPr>
                  <a:t>Go ahead an replace it with your own text. </a:t>
                </a:r>
                <a:endParaRPr lang="en-US" sz="1050" noProof="1">
                  <a:solidFill>
                    <a:srgbClr val="080808"/>
                  </a:solidFill>
                  <a:latin typeface="Calibri" charset="0"/>
                  <a:cs typeface="Arial" charset="0"/>
                </a:endParaRPr>
              </a:p>
            </p:txBody>
          </p:sp>
          <p:sp>
            <p:nvSpPr>
              <p:cNvPr id="22" name="Rectangle 21"/>
              <p:cNvSpPr/>
              <p:nvPr/>
            </p:nvSpPr>
            <p:spPr>
              <a:xfrm>
                <a:off x="2013847" y="4179679"/>
                <a:ext cx="1369911" cy="36718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spcBef>
                    <a:spcPct val="20000"/>
                  </a:spcBef>
                </a:pPr>
                <a:r>
                  <a:rPr lang="en-US" sz="1400" b="1" noProof="1">
                    <a:solidFill>
                      <a:srgbClr val="080808"/>
                    </a:solidFill>
                    <a:latin typeface="Calibri" charset="0"/>
                    <a:cs typeface="Arial" charset="0"/>
                  </a:rPr>
                  <a:t>Example text</a:t>
                </a:r>
              </a:p>
            </p:txBody>
          </p:sp>
        </p:grpSp>
        <p:sp>
          <p:nvSpPr>
            <p:cNvPr id="12" name="Rectangle 47"/>
            <p:cNvSpPr>
              <a:spLocks noChangeArrowheads="1"/>
            </p:cNvSpPr>
            <p:nvPr/>
          </p:nvSpPr>
          <p:spPr bwMode="auto">
            <a:xfrm>
              <a:off x="3412962" y="3439947"/>
              <a:ext cx="2517938" cy="410205"/>
            </a:xfrm>
            <a:prstGeom prst="rect">
              <a:avLst/>
            </a:prstGeom>
            <a:solidFill>
              <a:srgbClr val="0D65AC"/>
            </a:solidFill>
            <a:ln w="3175">
              <a:noFill/>
              <a:round/>
              <a:headEnd/>
              <a:tailEnd/>
            </a:ln>
            <a:effectLst/>
          </p:spPr>
          <p:txBody>
            <a:bodyPr anchor="ctr"/>
            <a:lstStyle/>
            <a:p>
              <a:pPr algn="ctr"/>
              <a:endParaRPr lang="en-US" sz="1600">
                <a:solidFill>
                  <a:srgbClr val="FFFFFF"/>
                </a:solidFill>
                <a:latin typeface="Calibri" charset="0"/>
              </a:endParaRPr>
            </a:p>
          </p:txBody>
        </p:sp>
        <p:sp>
          <p:nvSpPr>
            <p:cNvPr id="13" name="Rektangel 33"/>
            <p:cNvSpPr>
              <a:spLocks noChangeArrowheads="1"/>
            </p:cNvSpPr>
            <p:nvPr/>
          </p:nvSpPr>
          <p:spPr bwMode="auto">
            <a:xfrm>
              <a:off x="3580511" y="3506550"/>
              <a:ext cx="2196607" cy="276999"/>
            </a:xfrm>
            <a:prstGeom prst="rect">
              <a:avLst/>
            </a:prstGeom>
            <a:noFill/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  <a:extLst/>
          </p:spPr>
          <p:txBody>
            <a:bodyPr>
              <a:spAutoFit/>
            </a:bodyPr>
            <a:lstStyle/>
            <a:p>
              <a:pPr algn="ctr" defTabSz="801688">
                <a:spcBef>
                  <a:spcPct val="20000"/>
                </a:spcBef>
              </a:pPr>
              <a:r>
                <a:rPr lang="en-US" sz="1200" b="1" noProof="1">
                  <a:solidFill>
                    <a:schemeClr val="bg1"/>
                  </a:solidFill>
                  <a:latin typeface="Calibri" charset="0"/>
                  <a:cs typeface="Arial" charset="0"/>
                </a:rPr>
                <a:t>Management </a:t>
              </a:r>
              <a:r>
                <a:rPr lang="en-US" sz="1200" b="1" noProof="1" smtClean="0">
                  <a:solidFill>
                    <a:schemeClr val="bg1"/>
                  </a:solidFill>
                  <a:latin typeface="Calibri" charset="0"/>
                  <a:cs typeface="Arial" charset="0"/>
                </a:rPr>
                <a:t>responsibilities</a:t>
              </a:r>
              <a:r>
                <a:rPr lang="en-US" sz="1100" noProof="1" smtClean="0">
                  <a:solidFill>
                    <a:schemeClr val="bg1"/>
                  </a:solidFill>
                  <a:latin typeface="Calibri" charset="0"/>
                  <a:cs typeface="Arial" charset="0"/>
                </a:rPr>
                <a:t> </a:t>
              </a:r>
              <a:endParaRPr lang="en-US" sz="1100" noProof="1">
                <a:solidFill>
                  <a:schemeClr val="bg1"/>
                </a:solidFill>
                <a:latin typeface="Calibri" charset="0"/>
                <a:cs typeface="Arial" charset="0"/>
              </a:endParaRPr>
            </a:p>
          </p:txBody>
        </p:sp>
        <p:grpSp>
          <p:nvGrpSpPr>
            <p:cNvPr id="31" name="Group 30"/>
            <p:cNvGrpSpPr/>
            <p:nvPr/>
          </p:nvGrpSpPr>
          <p:grpSpPr>
            <a:xfrm flipV="1">
              <a:off x="1672581" y="1694822"/>
              <a:ext cx="1756419" cy="1834744"/>
              <a:chOff x="1672581" y="1476175"/>
              <a:chExt cx="1756419" cy="1834744"/>
            </a:xfrm>
          </p:grpSpPr>
          <p:sp>
            <p:nvSpPr>
              <p:cNvPr id="27" name="Teardrop 26"/>
              <p:cNvSpPr/>
              <p:nvPr/>
            </p:nvSpPr>
            <p:spPr>
              <a:xfrm>
                <a:off x="1672581" y="1555666"/>
                <a:ext cx="1755253" cy="1755253"/>
              </a:xfrm>
              <a:prstGeom prst="teardrop">
                <a:avLst/>
              </a:prstGeom>
              <a:solidFill>
                <a:srgbClr val="D5D5D5"/>
              </a:solidFill>
              <a:ln w="3175">
                <a:noFill/>
                <a:round/>
                <a:headEnd/>
                <a:tailEnd/>
              </a:ln>
              <a:effectLst>
                <a:innerShdw dist="38100" dir="16200000">
                  <a:prstClr val="black">
                    <a:alpha val="2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Freeform 4"/>
              <p:cNvSpPr>
                <a:spLocks noChangeArrowheads="1"/>
              </p:cNvSpPr>
              <p:nvPr/>
            </p:nvSpPr>
            <p:spPr bwMode="auto">
              <a:xfrm rot="2503993" flipV="1">
                <a:off x="3033939" y="1476175"/>
                <a:ext cx="395061" cy="573082"/>
              </a:xfrm>
              <a:custGeom>
                <a:avLst/>
                <a:gdLst>
                  <a:gd name="T0" fmla="*/ 0 w 928694"/>
                  <a:gd name="T1" fmla="*/ 220409 h 1082973"/>
                  <a:gd name="T2" fmla="*/ 142434 w 928694"/>
                  <a:gd name="T3" fmla="*/ 0 h 1082973"/>
                  <a:gd name="T4" fmla="*/ 284869 w 928694"/>
                  <a:gd name="T5" fmla="*/ 220409 h 1082973"/>
                  <a:gd name="T6" fmla="*/ 213652 w 928694"/>
                  <a:gd name="T7" fmla="*/ 220409 h 1082973"/>
                  <a:gd name="T8" fmla="*/ 150835 w 928694"/>
                  <a:gd name="T9" fmla="*/ 514050 h 1082973"/>
                  <a:gd name="T10" fmla="*/ 150815 w 928694"/>
                  <a:gd name="T11" fmla="*/ 512543 h 1082973"/>
                  <a:gd name="T12" fmla="*/ 71217 w 928694"/>
                  <a:gd name="T13" fmla="*/ 220409 h 1082973"/>
                  <a:gd name="T14" fmla="*/ 0 w 928694"/>
                  <a:gd name="T15" fmla="*/ 220409 h 108297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28694"/>
                  <a:gd name="T25" fmla="*/ 0 h 1082973"/>
                  <a:gd name="T26" fmla="*/ 928694 w 928694"/>
                  <a:gd name="T27" fmla="*/ 1082973 h 108297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28694" h="1082973">
                    <a:moveTo>
                      <a:pt x="0" y="464347"/>
                    </a:moveTo>
                    <a:lnTo>
                      <a:pt x="464347" y="0"/>
                    </a:lnTo>
                    <a:lnTo>
                      <a:pt x="928694" y="464347"/>
                    </a:lnTo>
                    <a:lnTo>
                      <a:pt x="696521" y="464347"/>
                    </a:lnTo>
                    <a:lnTo>
                      <a:pt x="491733" y="1082973"/>
                    </a:lnTo>
                    <a:cubicBezTo>
                      <a:pt x="491711" y="1081914"/>
                      <a:pt x="491690" y="1080856"/>
                      <a:pt x="491668" y="1079797"/>
                    </a:cubicBezTo>
                    <a:lnTo>
                      <a:pt x="232174" y="464347"/>
                    </a:lnTo>
                    <a:lnTo>
                      <a:pt x="0" y="464347"/>
                    </a:lnTo>
                    <a:close/>
                  </a:path>
                </a:pathLst>
              </a:custGeom>
              <a:solidFill>
                <a:srgbClr val="0D65AC"/>
              </a:solidFill>
              <a:ln w="3175">
                <a:noFill/>
                <a:round/>
                <a:headEnd/>
                <a:tailEnd/>
              </a:ln>
              <a:effectLst>
                <a:innerShdw dist="38100" dir="5400000">
                  <a:prstClr val="black">
                    <a:alpha val="20000"/>
                  </a:prstClr>
                </a:innerShdw>
              </a:effectLst>
            </p:spPr>
            <p:txBody>
              <a:bodyPr anchor="ctr"/>
              <a:lstStyle/>
              <a:p>
                <a:endParaRPr lang="en-US" sz="1600"/>
              </a:p>
            </p:txBody>
          </p:sp>
        </p:grpSp>
        <p:sp>
          <p:nvSpPr>
            <p:cNvPr id="29" name="Rectangle 28"/>
            <p:cNvSpPr/>
            <p:nvPr/>
          </p:nvSpPr>
          <p:spPr>
            <a:xfrm>
              <a:off x="1761718" y="2253983"/>
              <a:ext cx="1586928" cy="77098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indent="-171450">
                <a:spcBef>
                  <a:spcPct val="20000"/>
                </a:spcBef>
                <a:buFont typeface="Arial" pitchFamily="34" charset="0"/>
                <a:buChar char="•"/>
              </a:pPr>
              <a:r>
                <a:rPr lang="en-US" sz="1050" noProof="1" smtClean="0">
                  <a:solidFill>
                    <a:srgbClr val="080808"/>
                  </a:solidFill>
                  <a:latin typeface="Calibri" charset="0"/>
                  <a:cs typeface="Arial" charset="0"/>
                </a:rPr>
                <a:t>This is an example text. </a:t>
              </a:r>
            </a:p>
            <a:p>
              <a:pPr marL="171450" indent="-171450">
                <a:spcBef>
                  <a:spcPct val="20000"/>
                </a:spcBef>
                <a:buFont typeface="Arial" pitchFamily="34" charset="0"/>
                <a:buChar char="•"/>
              </a:pPr>
              <a:r>
                <a:rPr lang="en-US" sz="1050" noProof="1" smtClean="0">
                  <a:solidFill>
                    <a:srgbClr val="080808"/>
                  </a:solidFill>
                  <a:latin typeface="Calibri" charset="0"/>
                  <a:cs typeface="Arial" charset="0"/>
                </a:rPr>
                <a:t>Go ahead an replace it with your own text. </a:t>
              </a:r>
              <a:endParaRPr lang="en-US" sz="1050" noProof="1">
                <a:solidFill>
                  <a:srgbClr val="080808"/>
                </a:solidFill>
                <a:latin typeface="Calibri" charset="0"/>
                <a:cs typeface="Arial" charset="0"/>
              </a:endParaRP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1958631" y="1944408"/>
              <a:ext cx="114826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spcBef>
                  <a:spcPct val="20000"/>
                </a:spcBef>
              </a:pPr>
              <a:r>
                <a:rPr lang="en-US" sz="1400" b="1" noProof="1">
                  <a:solidFill>
                    <a:srgbClr val="080808"/>
                  </a:solidFill>
                  <a:latin typeface="Calibri" charset="0"/>
                  <a:cs typeface="Arial" charset="0"/>
                </a:rPr>
                <a:t>Example text</a:t>
              </a:r>
            </a:p>
          </p:txBody>
        </p:sp>
        <p:grpSp>
          <p:nvGrpSpPr>
            <p:cNvPr id="43" name="Group 42"/>
            <p:cNvGrpSpPr/>
            <p:nvPr/>
          </p:nvGrpSpPr>
          <p:grpSpPr>
            <a:xfrm flipH="1">
              <a:off x="5914274" y="3746584"/>
              <a:ext cx="1756419" cy="1834744"/>
              <a:chOff x="5930900" y="3986618"/>
              <a:chExt cx="1756419" cy="1834744"/>
            </a:xfrm>
          </p:grpSpPr>
          <p:sp>
            <p:nvSpPr>
              <p:cNvPr id="33" name="Teardrop 32"/>
              <p:cNvSpPr/>
              <p:nvPr/>
            </p:nvSpPr>
            <p:spPr>
              <a:xfrm>
                <a:off x="5930900" y="4066109"/>
                <a:ext cx="1755253" cy="1755253"/>
              </a:xfrm>
              <a:prstGeom prst="teardrop">
                <a:avLst/>
              </a:prstGeom>
              <a:solidFill>
                <a:srgbClr val="D5D5D5"/>
              </a:solidFill>
              <a:ln w="3175">
                <a:noFill/>
                <a:round/>
                <a:headEnd/>
                <a:tailEnd/>
              </a:ln>
              <a:effectLst>
                <a:innerShdw dist="38100" dir="5400000">
                  <a:prstClr val="black">
                    <a:alpha val="2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Freeform 4"/>
              <p:cNvSpPr>
                <a:spLocks noChangeArrowheads="1"/>
              </p:cNvSpPr>
              <p:nvPr/>
            </p:nvSpPr>
            <p:spPr bwMode="auto">
              <a:xfrm rot="2503993" flipV="1">
                <a:off x="7292258" y="3986618"/>
                <a:ext cx="395061" cy="573082"/>
              </a:xfrm>
              <a:custGeom>
                <a:avLst/>
                <a:gdLst>
                  <a:gd name="T0" fmla="*/ 0 w 928694"/>
                  <a:gd name="T1" fmla="*/ 220409 h 1082973"/>
                  <a:gd name="T2" fmla="*/ 142434 w 928694"/>
                  <a:gd name="T3" fmla="*/ 0 h 1082973"/>
                  <a:gd name="T4" fmla="*/ 284869 w 928694"/>
                  <a:gd name="T5" fmla="*/ 220409 h 1082973"/>
                  <a:gd name="T6" fmla="*/ 213652 w 928694"/>
                  <a:gd name="T7" fmla="*/ 220409 h 1082973"/>
                  <a:gd name="T8" fmla="*/ 150835 w 928694"/>
                  <a:gd name="T9" fmla="*/ 514050 h 1082973"/>
                  <a:gd name="T10" fmla="*/ 150815 w 928694"/>
                  <a:gd name="T11" fmla="*/ 512543 h 1082973"/>
                  <a:gd name="T12" fmla="*/ 71217 w 928694"/>
                  <a:gd name="T13" fmla="*/ 220409 h 1082973"/>
                  <a:gd name="T14" fmla="*/ 0 w 928694"/>
                  <a:gd name="T15" fmla="*/ 220409 h 108297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28694"/>
                  <a:gd name="T25" fmla="*/ 0 h 1082973"/>
                  <a:gd name="T26" fmla="*/ 928694 w 928694"/>
                  <a:gd name="T27" fmla="*/ 1082973 h 108297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28694" h="1082973">
                    <a:moveTo>
                      <a:pt x="0" y="464347"/>
                    </a:moveTo>
                    <a:lnTo>
                      <a:pt x="464347" y="0"/>
                    </a:lnTo>
                    <a:lnTo>
                      <a:pt x="928694" y="464347"/>
                    </a:lnTo>
                    <a:lnTo>
                      <a:pt x="696521" y="464347"/>
                    </a:lnTo>
                    <a:lnTo>
                      <a:pt x="491733" y="1082973"/>
                    </a:lnTo>
                    <a:cubicBezTo>
                      <a:pt x="491711" y="1081914"/>
                      <a:pt x="491690" y="1080856"/>
                      <a:pt x="491668" y="1079797"/>
                    </a:cubicBezTo>
                    <a:lnTo>
                      <a:pt x="232174" y="464347"/>
                    </a:lnTo>
                    <a:lnTo>
                      <a:pt x="0" y="464347"/>
                    </a:lnTo>
                    <a:close/>
                  </a:path>
                </a:pathLst>
              </a:custGeom>
              <a:solidFill>
                <a:srgbClr val="0D65AC"/>
              </a:solidFill>
              <a:ln w="3175">
                <a:noFill/>
                <a:round/>
                <a:headEnd/>
                <a:tailEnd/>
              </a:ln>
              <a:effectLst>
                <a:innerShdw dist="38100" dir="5400000">
                  <a:prstClr val="black">
                    <a:alpha val="20000"/>
                  </a:prstClr>
                </a:innerShdw>
              </a:effectLst>
            </p:spPr>
            <p:txBody>
              <a:bodyPr anchor="ctr"/>
              <a:lstStyle/>
              <a:p>
                <a:endParaRPr lang="en-US" sz="1600"/>
              </a:p>
            </p:txBody>
          </p:sp>
        </p:grpSp>
        <p:sp>
          <p:nvSpPr>
            <p:cNvPr id="35" name="Rectangle 34"/>
            <p:cNvSpPr/>
            <p:nvPr/>
          </p:nvSpPr>
          <p:spPr>
            <a:xfrm>
              <a:off x="6020037" y="4514840"/>
              <a:ext cx="1586928" cy="77098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indent="-171450">
                <a:spcBef>
                  <a:spcPct val="20000"/>
                </a:spcBef>
                <a:buFont typeface="Arial" pitchFamily="34" charset="0"/>
                <a:buChar char="•"/>
              </a:pPr>
              <a:r>
                <a:rPr lang="en-US" sz="1050" noProof="1" smtClean="0">
                  <a:solidFill>
                    <a:srgbClr val="080808"/>
                  </a:solidFill>
                  <a:latin typeface="Calibri" charset="0"/>
                  <a:cs typeface="Arial" charset="0"/>
                </a:rPr>
                <a:t>This is an example text. </a:t>
              </a:r>
            </a:p>
            <a:p>
              <a:pPr marL="171450" indent="-171450">
                <a:spcBef>
                  <a:spcPct val="20000"/>
                </a:spcBef>
                <a:buFont typeface="Arial" pitchFamily="34" charset="0"/>
                <a:buChar char="•"/>
              </a:pPr>
              <a:r>
                <a:rPr lang="en-US" sz="1050" noProof="1" smtClean="0">
                  <a:solidFill>
                    <a:srgbClr val="080808"/>
                  </a:solidFill>
                  <a:latin typeface="Calibri" charset="0"/>
                  <a:cs typeface="Arial" charset="0"/>
                </a:rPr>
                <a:t>Go ahead an replace it with your own text. </a:t>
              </a:r>
              <a:endParaRPr lang="en-US" sz="1050" noProof="1">
                <a:solidFill>
                  <a:srgbClr val="080808"/>
                </a:solidFill>
                <a:latin typeface="Calibri" charset="0"/>
                <a:cs typeface="Arial" charset="0"/>
              </a:endParaRP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6216949" y="4205265"/>
              <a:ext cx="114826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spcBef>
                  <a:spcPct val="20000"/>
                </a:spcBef>
              </a:pPr>
              <a:r>
                <a:rPr lang="en-US" sz="1400" b="1" noProof="1">
                  <a:solidFill>
                    <a:srgbClr val="080808"/>
                  </a:solidFill>
                  <a:latin typeface="Calibri" charset="0"/>
                  <a:cs typeface="Arial" charset="0"/>
                </a:rPr>
                <a:t>Example text</a:t>
              </a:r>
            </a:p>
          </p:txBody>
        </p:sp>
        <p:grpSp>
          <p:nvGrpSpPr>
            <p:cNvPr id="42" name="Group 41"/>
            <p:cNvGrpSpPr/>
            <p:nvPr/>
          </p:nvGrpSpPr>
          <p:grpSpPr>
            <a:xfrm flipH="1">
              <a:off x="5914274" y="1694822"/>
              <a:ext cx="1756419" cy="1834744"/>
              <a:chOff x="5930900" y="1934856"/>
              <a:chExt cx="1756419" cy="1834744"/>
            </a:xfrm>
          </p:grpSpPr>
          <p:sp>
            <p:nvSpPr>
              <p:cNvPr id="38" name="Teardrop 37"/>
              <p:cNvSpPr/>
              <p:nvPr/>
            </p:nvSpPr>
            <p:spPr>
              <a:xfrm flipV="1">
                <a:off x="5930900" y="1934856"/>
                <a:ext cx="1755253" cy="1755253"/>
              </a:xfrm>
              <a:prstGeom prst="teardrop">
                <a:avLst/>
              </a:prstGeom>
              <a:solidFill>
                <a:srgbClr val="D5D5D5"/>
              </a:solidFill>
              <a:ln w="3175">
                <a:noFill/>
                <a:round/>
                <a:headEnd/>
                <a:tailEnd/>
              </a:ln>
              <a:effectLst>
                <a:innerShdw dist="38100" dir="16200000">
                  <a:prstClr val="black">
                    <a:alpha val="2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" name="Freeform 4"/>
              <p:cNvSpPr>
                <a:spLocks noChangeArrowheads="1"/>
              </p:cNvSpPr>
              <p:nvPr/>
            </p:nvSpPr>
            <p:spPr bwMode="auto">
              <a:xfrm rot="19096007">
                <a:off x="7292258" y="3196518"/>
                <a:ext cx="395061" cy="573082"/>
              </a:xfrm>
              <a:custGeom>
                <a:avLst/>
                <a:gdLst>
                  <a:gd name="T0" fmla="*/ 0 w 928694"/>
                  <a:gd name="T1" fmla="*/ 220409 h 1082973"/>
                  <a:gd name="T2" fmla="*/ 142434 w 928694"/>
                  <a:gd name="T3" fmla="*/ 0 h 1082973"/>
                  <a:gd name="T4" fmla="*/ 284869 w 928694"/>
                  <a:gd name="T5" fmla="*/ 220409 h 1082973"/>
                  <a:gd name="T6" fmla="*/ 213652 w 928694"/>
                  <a:gd name="T7" fmla="*/ 220409 h 1082973"/>
                  <a:gd name="T8" fmla="*/ 150835 w 928694"/>
                  <a:gd name="T9" fmla="*/ 514050 h 1082973"/>
                  <a:gd name="T10" fmla="*/ 150815 w 928694"/>
                  <a:gd name="T11" fmla="*/ 512543 h 1082973"/>
                  <a:gd name="T12" fmla="*/ 71217 w 928694"/>
                  <a:gd name="T13" fmla="*/ 220409 h 1082973"/>
                  <a:gd name="T14" fmla="*/ 0 w 928694"/>
                  <a:gd name="T15" fmla="*/ 220409 h 108297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28694"/>
                  <a:gd name="T25" fmla="*/ 0 h 1082973"/>
                  <a:gd name="T26" fmla="*/ 928694 w 928694"/>
                  <a:gd name="T27" fmla="*/ 1082973 h 108297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28694" h="1082973">
                    <a:moveTo>
                      <a:pt x="0" y="464347"/>
                    </a:moveTo>
                    <a:lnTo>
                      <a:pt x="464347" y="0"/>
                    </a:lnTo>
                    <a:lnTo>
                      <a:pt x="928694" y="464347"/>
                    </a:lnTo>
                    <a:lnTo>
                      <a:pt x="696521" y="464347"/>
                    </a:lnTo>
                    <a:lnTo>
                      <a:pt x="491733" y="1082973"/>
                    </a:lnTo>
                    <a:cubicBezTo>
                      <a:pt x="491711" y="1081914"/>
                      <a:pt x="491690" y="1080856"/>
                      <a:pt x="491668" y="1079797"/>
                    </a:cubicBezTo>
                    <a:lnTo>
                      <a:pt x="232174" y="464347"/>
                    </a:lnTo>
                    <a:lnTo>
                      <a:pt x="0" y="464347"/>
                    </a:lnTo>
                    <a:close/>
                  </a:path>
                </a:pathLst>
              </a:custGeom>
              <a:solidFill>
                <a:srgbClr val="0D65AC"/>
              </a:solidFill>
              <a:ln w="3175">
                <a:noFill/>
                <a:round/>
                <a:headEnd/>
                <a:tailEnd/>
              </a:ln>
              <a:effectLst>
                <a:innerShdw dist="38100" dir="5400000">
                  <a:prstClr val="black">
                    <a:alpha val="20000"/>
                  </a:prstClr>
                </a:innerShdw>
              </a:effectLst>
            </p:spPr>
            <p:txBody>
              <a:bodyPr anchor="ctr"/>
              <a:lstStyle/>
              <a:p>
                <a:endParaRPr lang="en-US" sz="1600"/>
              </a:p>
            </p:txBody>
          </p:sp>
        </p:grpSp>
        <p:sp>
          <p:nvSpPr>
            <p:cNvPr id="40" name="Rectangle 39"/>
            <p:cNvSpPr/>
            <p:nvPr/>
          </p:nvSpPr>
          <p:spPr>
            <a:xfrm>
              <a:off x="6020037" y="2253983"/>
              <a:ext cx="1586928" cy="77098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indent="-171450">
                <a:spcBef>
                  <a:spcPct val="20000"/>
                </a:spcBef>
                <a:buFont typeface="Arial" pitchFamily="34" charset="0"/>
                <a:buChar char="•"/>
              </a:pPr>
              <a:r>
                <a:rPr lang="en-US" sz="1050" noProof="1" smtClean="0">
                  <a:solidFill>
                    <a:srgbClr val="080808"/>
                  </a:solidFill>
                  <a:latin typeface="Calibri" charset="0"/>
                  <a:cs typeface="Arial" charset="0"/>
                </a:rPr>
                <a:t>This is an example text. </a:t>
              </a:r>
            </a:p>
            <a:p>
              <a:pPr marL="171450" indent="-171450">
                <a:spcBef>
                  <a:spcPct val="20000"/>
                </a:spcBef>
                <a:buFont typeface="Arial" pitchFamily="34" charset="0"/>
                <a:buChar char="•"/>
              </a:pPr>
              <a:r>
                <a:rPr lang="en-US" sz="1050" noProof="1" smtClean="0">
                  <a:solidFill>
                    <a:srgbClr val="080808"/>
                  </a:solidFill>
                  <a:latin typeface="Calibri" charset="0"/>
                  <a:cs typeface="Arial" charset="0"/>
                </a:rPr>
                <a:t>Go ahead an replace it with your own text. </a:t>
              </a:r>
              <a:endParaRPr lang="en-US" sz="1050" noProof="1">
                <a:solidFill>
                  <a:srgbClr val="080808"/>
                </a:solidFill>
                <a:latin typeface="Calibri" charset="0"/>
                <a:cs typeface="Arial" charset="0"/>
              </a:endParaRP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6216950" y="1944408"/>
              <a:ext cx="114826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spcBef>
                  <a:spcPct val="20000"/>
                </a:spcBef>
              </a:pPr>
              <a:r>
                <a:rPr lang="en-US" sz="1400" b="1" noProof="1">
                  <a:solidFill>
                    <a:srgbClr val="080808"/>
                  </a:solidFill>
                  <a:latin typeface="Calibri" charset="0"/>
                  <a:cs typeface="Arial" charset="0"/>
                </a:rPr>
                <a:t>Example text</a:t>
              </a: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665442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SLIDE_COUNT" val="13"/>
  <p:tag name="THINKCELLUNDODONOTDELETE" val="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yOmGT0TE.aY6zMxQrWx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oEuEfrq0.VYgxTJTyH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PwDaUH20mX2QIkxJe_9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e7q79xhE.8LsAW_Y4TX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6X2PnoQEOrhH_e7cLTZ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gZtGLaw0WzjSci4zJow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AXH6fHI0CMUCph1eXqH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Zja6pVzk2V2t5jpPbAC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AM.uCUakKJA9TWWEGph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3atKx4BPE6tjT5DZEBzJ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VwdqlSQkSd.WDVeZaS8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asIGKs_UGOEWoccXLpa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XgU54M3kumbCyD2uI_y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55k4Ps20W5H1NGyY3dB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faHwhC_UGPhSo2PrwPk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g2IXHoBU2j9yXHijKIQ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KnOnwbw0Kx4zXcdAHs_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pKfV1takGfaenIkJfMu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2afDQTw8EGAioVNh3C0.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nSk6KB1kOgvlFz_.gZU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Ey4pnGOEqXP52ssObOB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CZf64M1kutlMnNi0ETQ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erFSzT30Gl5CQ_JfIJ3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tBts37YkeNhDCge2m7I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wiV4YrwUGMFMAr.ruMK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40ujVgJkSXoMikXCFTc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tf16E3Hky1_vUmmigKB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QpwHfhlkev97qDDpCTy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685</TotalTime>
  <Words>1461</Words>
  <Application>Microsoft Office PowerPoint</Application>
  <PresentationFormat>On-screen Show (4:3)</PresentationFormat>
  <Paragraphs>273</Paragraphs>
  <Slides>13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5" baseType="lpstr">
      <vt:lpstr>Office Theme</vt:lpstr>
      <vt:lpstr>think-cell Slide</vt:lpstr>
      <vt:lpstr>BUSINESS PLAN</vt:lpstr>
      <vt:lpstr>BUSINESS PLAN</vt:lpstr>
      <vt:lpstr>BUSINESS PLAN</vt:lpstr>
      <vt:lpstr>BUSINESS PLAN</vt:lpstr>
      <vt:lpstr>BUSINESS PLAN</vt:lpstr>
      <vt:lpstr>BUSINESS PLAN</vt:lpstr>
      <vt:lpstr>BUSINESS PLAN</vt:lpstr>
      <vt:lpstr>BUSINESS PLAN</vt:lpstr>
      <vt:lpstr>BUSINESS PLAN</vt:lpstr>
      <vt:lpstr>BUSINESS PLAN</vt:lpstr>
      <vt:lpstr>BUSINESS PLAN</vt:lpstr>
      <vt:lpstr>BUSINESS PLAN</vt:lpstr>
      <vt:lpstr>BUSINESS PLAN</vt:lpstr>
    </vt:vector>
  </TitlesOfParts>
  <Company>Pahlawan Desig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gus Purwanto</dc:creator>
  <cp:lastModifiedBy>Defi</cp:lastModifiedBy>
  <cp:revision>297</cp:revision>
  <dcterms:created xsi:type="dcterms:W3CDTF">2013-10-31T11:03:13Z</dcterms:created>
  <dcterms:modified xsi:type="dcterms:W3CDTF">2014-02-27T03:33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EEC0F82E-C659-4A23-9F29-E6464E2CA07E</vt:lpwstr>
  </property>
  <property fmtid="{D5CDD505-2E9C-101B-9397-08002B2CF9AE}" pid="3" name="ArticulatePath">
    <vt:lpwstr>Slideshop Improving product - Business Plan Production</vt:lpwstr>
  </property>
</Properties>
</file>